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2.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3.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834" r:id="rId4"/>
    <p:sldMasterId id="2147483782" r:id="rId5"/>
    <p:sldMasterId id="2147484039" r:id="rId6"/>
    <p:sldMasterId id="2147484138" r:id="rId7"/>
  </p:sldMasterIdLst>
  <p:notesMasterIdLst>
    <p:notesMasterId r:id="rId44"/>
  </p:notesMasterIdLst>
  <p:sldIdLst>
    <p:sldId id="707" r:id="rId8"/>
    <p:sldId id="708" r:id="rId9"/>
    <p:sldId id="733" r:id="rId10"/>
    <p:sldId id="856" r:id="rId11"/>
    <p:sldId id="785" r:id="rId12"/>
    <p:sldId id="840" r:id="rId13"/>
    <p:sldId id="855" r:id="rId14"/>
    <p:sldId id="857" r:id="rId15"/>
    <p:sldId id="841" r:id="rId16"/>
    <p:sldId id="867" r:id="rId17"/>
    <p:sldId id="858" r:id="rId18"/>
    <p:sldId id="866" r:id="rId19"/>
    <p:sldId id="859" r:id="rId20"/>
    <p:sldId id="865" r:id="rId21"/>
    <p:sldId id="814" r:id="rId22"/>
    <p:sldId id="665" r:id="rId23"/>
    <p:sldId id="844" r:id="rId24"/>
    <p:sldId id="849" r:id="rId25"/>
    <p:sldId id="850" r:id="rId26"/>
    <p:sldId id="806" r:id="rId27"/>
    <p:sldId id="817" r:id="rId28"/>
    <p:sldId id="819" r:id="rId29"/>
    <p:sldId id="668" r:id="rId30"/>
    <p:sldId id="853" r:id="rId31"/>
    <p:sldId id="852" r:id="rId32"/>
    <p:sldId id="808" r:id="rId33"/>
    <p:sldId id="863" r:id="rId34"/>
    <p:sldId id="864" r:id="rId35"/>
    <p:sldId id="754" r:id="rId36"/>
    <p:sldId id="776" r:id="rId37"/>
    <p:sldId id="839" r:id="rId38"/>
    <p:sldId id="717" r:id="rId39"/>
    <p:sldId id="718" r:id="rId40"/>
    <p:sldId id="719" r:id="rId41"/>
    <p:sldId id="330" r:id="rId42"/>
    <p:sldId id="720" r:id="rId43"/>
  </p:sldIdLst>
  <p:sldSz cx="12192000" cy="6858000"/>
  <p:notesSz cx="16256000" cy="9144000"/>
  <p:embeddedFontLst>
    <p:embeddedFont>
      <p:font typeface="Calibri" panose="020F0502020204030204" pitchFamily="34" charset="0"/>
      <p:regular r:id="rId45"/>
      <p:bold r:id="rId46"/>
      <p:italic r:id="rId47"/>
      <p:boldItalic r:id="rId48"/>
    </p:embeddedFont>
    <p:embeddedFont>
      <p:font typeface="Nunito Sans" panose="00000500000000000000" pitchFamily="2" charset="0"/>
      <p:regular r:id="rId49"/>
      <p:bold r:id="rId50"/>
      <p:italic r:id="rId51"/>
      <p:boldItalic r:id="rId52"/>
    </p:embeddedFont>
    <p:embeddedFont>
      <p:font typeface="Nunito Sans Black" panose="00000A00000000000000" pitchFamily="2" charset="0"/>
      <p:bold r:id="rId53"/>
      <p:boldItalic r:id="rId54"/>
    </p:embeddedFont>
    <p:embeddedFont>
      <p:font typeface="Nunito Sans ExtraBold" panose="00000900000000000000" pitchFamily="2" charset="0"/>
      <p:bold r:id="rId55"/>
      <p:boldItalic r:id="rId56"/>
    </p:embeddedFont>
    <p:embeddedFont>
      <p:font typeface="Segoe UI" panose="020B0502040204020203" pitchFamily="34" charset="0"/>
      <p:regular r:id="rId57"/>
      <p:bold r:id="rId58"/>
      <p:italic r:id="rId59"/>
      <p:boldItalic r:id="rId60"/>
    </p:embeddedFont>
  </p:embeddedFont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16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CA3D208-6267-342F-996D-0ED919789A35}" name="Susan Wallace" initials="SW" userId="S::susan.wallace@scouts.org.uk::1dea21a4-a711-4ebc-9773-2fb79bc4550e" providerId="AD"/>
  <p188:author id="{30A23612-EC69-DF99-8E3C-8FC1F2535C8D}" name="Rebecca Young" initials="RY" userId="S::rebecca.young@scouts.org.uk::f555593b-33da-495a-aad4-0af475238730" providerId="AD"/>
  <p188:author id="{1A523E19-15C1-E9D4-4FD2-7AEF2AE34E0B}" name="Adam Ray" initials="AR" userId="S::adam.ray@scouts.org.uk::55e35bce-ead9-4df5-9235-184f6cd38396" providerId="AD"/>
  <p188:author id="{380A2322-47BA-B565-A126-E3D264C782EC}" name="Ben Powlesland" initials="BP" userId="S::benjamin.powlesland@scouts.org.uk::baa67bed-c541-40ef-a4f5-2220a2e8bccf" providerId="AD"/>
  <p188:author id="{3C815923-39DB-63F5-A443-18923E457571}" name="Pete Jeffreys" initials="PJ" userId="S::Pete.Jeffreys@scouts.org.uk::25ad60b4-1396-428f-a660-10ca608ac5be" providerId="AD"/>
  <p188:author id="{02FF092D-6D72-A9F1-59AF-F6CA8A495047}" name="Jack Caine" initials="JC" userId="S::jack.caine@scouts.org.uk::64d406e3-071f-4895-a778-14919809e9a5" providerId="AD"/>
  <p188:author id="{E1DBFD33-56EB-8CE8-DD2C-D9FF7E16F56F}" name="Pete Jeffreys" initials="PJ" userId="S::pete.jeffreys@scouts.org.uk::25ad60b4-1396-428f-a660-10ca608ac5be" providerId="AD"/>
  <p188:author id="{1EDE143A-CD14-B44C-8B24-E7A126DBF7FE}" name="Robert Groves" initials="RG" userId="Robert Groves" providerId="None"/>
  <p188:author id="{75DB3E5F-BCEB-C059-68D6-BC99F48451FF}" name="Andrew Sutherland" initials="AS" userId="S::andrew.sutherland@scouts.org.uk::f84dd9ed-16dd-4604-8524-05c73fa146fc" providerId="AD"/>
  <p188:author id="{09EE0762-028D-C496-A63A-38CA9AB7D99D}" name="Alison Fell" initials="AF" userId="S::alison.fell@scouts.org.uk::5b1de8e2-dda0-40e6-9071-5ec3be7418c5" providerId="AD"/>
  <p188:author id="{18651C69-2D9F-5889-DCD6-A21DDFDF980E}" name="Elizabeth Stormfield" initials="ES" userId="S::elizabeth.stormfield@scouts.org.uk::143790e4-f836-4071-8725-fc18b1c0af50" providerId="AD"/>
  <p188:author id="{874E6E74-72D9-576B-FBA3-9BE0DB0285FC}" name="James Booker" initials="JB" userId="S::james.booker@scouts.org.uk::201249a4-d410-4cab-99cc-746650975179" providerId="AD"/>
  <p188:author id="{0D831884-2401-F86D-55D7-E40AB25E776F}" name="Alison Fell" initials="AF" userId="S::alison.fell@cycscouts.org.uk::9470677d-65ca-4e5e-97ca-08ffce19d652" providerId="AD"/>
  <p188:author id="{D13BF18C-1455-CC9B-F8B2-C181FA239493}" name="Lara Burns" initials="LB" userId="S::lara.burns@scouts.org.uk::3ecee4ae-a55c-4804-ac20-4479182acad9" providerId="AD"/>
  <p188:author id="{49AAC8C7-16BA-D461-223F-9B2126E520F6}" name="Anders Wulff" initials="AW" userId="S::anders.wulff@scouts.org.uk::712cb9ff-b7b2-40ee-9b23-9483bf4b62f6" providerId="AD"/>
  <p188:author id="{3D79F3C7-D0F4-A591-84AB-43B7BEC64F9F}" name="Craig Turpie" initials="CT" userId="S::craig.turpie@scouts.org.uk::0a9270cd-ff07-4281-8a79-9ac34e6992a5" providerId="AD"/>
  <p188:author id="{544CD2D0-1776-E026-85BB-ED66046B37CD}" name="Eleanor Coker" initials="EC" userId="S::eleanor.coker@scouts.org.uk::f2e34377-7a42-4171-897d-815de199653d" providerId="AD"/>
  <p188:author id="{ED1FD4DE-6FB5-8603-65E2-74F7500488B7}" name="Kirsty Waugh" initials="KW" userId="S::kirsty.waugh@scouts.org.uk::3c8af125-a979-4ee5-804b-4b718550c0d7" providerId="AD"/>
  <p188:author id="{DA38F2E9-F69D-34CD-27F0-99B9E7CC527C}" name="Lauren Golding" initials="LG" userId="S::lauren.golding@scouts.org.uk::5ecf11f9-6101-44b0-9678-ad82d7c1bed9" providerId="AD"/>
  <p188:author id="{BCA007F3-E7CA-0934-D7EC-8256E13732B6}" name="Robert Groves" initials="RG" userId="S::Robert.Groves@scouts.org.uk::18340ee5-2ee2-4523-a1bd-00715d104e64" providerId="AD"/>
  <p188:author id="{7AD9B1F9-B7F8-0530-DF4C-8159C57300DA}" name="Emily Hatcher" initials="EH" userId="S::emily.hatcher@scouts.org.uk::5248c6d0-681c-48eb-bcdd-736a1e594407" providerId="AD"/>
  <p188:author id="{1A9ADFFA-76F0-13C9-E8AC-813C7AFD6AFD}" name="Hamish Stout" initials="HS" userId="S::hamish.stout@scouts.org.uk::15f0d1f2-19d0-420e-bacb-e7d8d634b31c" providerId="AD"/>
  <p188:author id="{3CFDCDFF-C6B2-5F68-6369-EA6051CD0E23}" name="Heather Smith" initials="HS" userId="S::heather.smith@scouts.org.uk::d8df1e46-fb49-4870-8d1d-1072af296b9c" providerId="AD"/>
  <p188:author id="{B306D6FF-6E8A-051B-9139-7245D0F1B46A}" name="Pete Jeffreys" initials="PJ" userId="Pete Jeffreys"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14DC"/>
    <a:srgbClr val="205A41"/>
    <a:srgbClr val="23A950"/>
    <a:srgbClr val="00A793"/>
    <a:srgbClr val="0039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1B19FB-13C4-40F9-BA23-1964A90913D0}" v="221" dt="2023-10-30T16:37:27.153"/>
    <p1510:client id="{38A4DDAB-5666-635A-EA9F-E640BD3443C4}" v="5" dt="2023-10-31T17:13:43.394"/>
    <p1510:client id="{3CC47477-0835-459A-FA27-EF2371182AFA}" v="27" dt="2023-10-31T20:28:42.697"/>
    <p1510:client id="{8C86F349-498B-48E0-A130-1CFD8D8E3714}" v="871" dt="2023-10-31T11:17:17.854"/>
    <p1510:client id="{E7CE2B04-84FC-D006-E960-ADEB03AB764B}" v="141" dt="2023-10-31T14:27:37.769"/>
    <p1510:client id="{E82CCE1C-35D7-9293-8A83-DE0479A237BD}" v="47" dt="2023-10-31T11:27:02.522"/>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5" d="100"/>
          <a:sy n="115" d="100"/>
        </p:scale>
        <p:origin x="706" y="72"/>
      </p:cViewPr>
      <p:guideLst>
        <p:guide orient="horz" pos="2160"/>
        <p:guide pos="16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font" Target="fonts/font3.fntdata"/><Relationship Id="rId50" Type="http://schemas.openxmlformats.org/officeDocument/2006/relationships/font" Target="fonts/font6.fntdata"/><Relationship Id="rId55" Type="http://schemas.openxmlformats.org/officeDocument/2006/relationships/font" Target="fonts/font11.fntdata"/><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font" Target="fonts/font1.fntdata"/><Relationship Id="rId53" Type="http://schemas.openxmlformats.org/officeDocument/2006/relationships/font" Target="fonts/font9.fntdata"/><Relationship Id="rId58" Type="http://schemas.openxmlformats.org/officeDocument/2006/relationships/font" Target="fonts/font14.fntdata"/><Relationship Id="rId66"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font" Target="fonts/font4.fntdata"/><Relationship Id="rId56" Type="http://schemas.openxmlformats.org/officeDocument/2006/relationships/font" Target="fonts/font12.fntdata"/><Relationship Id="rId64"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font" Target="fonts/font7.fntdata"/><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font" Target="fonts/font2.fntdata"/><Relationship Id="rId59" Type="http://schemas.openxmlformats.org/officeDocument/2006/relationships/font" Target="fonts/font15.fntdata"/><Relationship Id="rId67" Type="http://schemas.microsoft.com/office/2018/10/relationships/authors" Target="author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font" Target="fonts/font10.fntdata"/><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font" Target="fonts/font5.fntdata"/><Relationship Id="rId57" Type="http://schemas.openxmlformats.org/officeDocument/2006/relationships/font" Target="fonts/font13.fntdata"/><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notesMaster" Target="notesMasters/notesMaster1.xml"/><Relationship Id="rId52" Type="http://schemas.openxmlformats.org/officeDocument/2006/relationships/font" Target="fonts/font8.fntdata"/><Relationship Id="rId60" Type="http://schemas.openxmlformats.org/officeDocument/2006/relationships/font" Target="fonts/font16.fntdata"/><Relationship Id="rId6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dam Ray" userId="S::adam.ray@scouts.org.uk::55e35bce-ead9-4df5-9235-184f6cd38396" providerId="AD" clId="Web-{3CC47477-0835-459A-FA27-EF2371182AFA}"/>
    <pc:docChg chg="modSld">
      <pc:chgData name="Adam Ray" userId="S::adam.ray@scouts.org.uk::55e35bce-ead9-4df5-9235-184f6cd38396" providerId="AD" clId="Web-{3CC47477-0835-459A-FA27-EF2371182AFA}" dt="2023-10-31T20:29:01.073" v="19"/>
      <pc:docMkLst>
        <pc:docMk/>
      </pc:docMkLst>
      <pc:sldChg chg="modSp delCm modCm">
        <pc:chgData name="Adam Ray" userId="S::adam.ray@scouts.org.uk::55e35bce-ead9-4df5-9235-184f6cd38396" providerId="AD" clId="Web-{3CC47477-0835-459A-FA27-EF2371182AFA}" dt="2023-10-31T20:28:42.697" v="18"/>
        <pc:sldMkLst>
          <pc:docMk/>
          <pc:sldMk cId="619815647" sldId="330"/>
        </pc:sldMkLst>
        <pc:spChg chg="mod">
          <ac:chgData name="Adam Ray" userId="S::adam.ray@scouts.org.uk::55e35bce-ead9-4df5-9235-184f6cd38396" providerId="AD" clId="Web-{3CC47477-0835-459A-FA27-EF2371182AFA}" dt="2023-10-31T20:28:42.197" v="15" actId="20577"/>
          <ac:spMkLst>
            <pc:docMk/>
            <pc:sldMk cId="619815647" sldId="330"/>
            <ac:spMk id="2" creationId="{17EF3307-79D3-F146-FFE9-B8D4BBDB1EDE}"/>
          </ac:spMkLst>
        </pc:spChg>
        <pc:extLst>
          <p:ext xmlns:p="http://schemas.openxmlformats.org/presentationml/2006/main" uri="{D6D511B9-2390-475A-947B-AFAB55BFBCF1}">
            <pc226:cmChg xmlns:pc226="http://schemas.microsoft.com/office/powerpoint/2022/06/main/command" chg="del mod">
              <pc226:chgData name="Adam Ray" userId="S::adam.ray@scouts.org.uk::55e35bce-ead9-4df5-9235-184f6cd38396" providerId="AD" clId="Web-{3CC47477-0835-459A-FA27-EF2371182AFA}" dt="2023-10-31T20:28:42.697" v="18"/>
              <pc2:cmMkLst xmlns:pc2="http://schemas.microsoft.com/office/powerpoint/2019/9/main/command">
                <pc:docMk/>
                <pc:sldMk cId="619815647" sldId="330"/>
                <pc2:cmMk id="{36529484-C383-405E-90B9-790DF0DAC405}"/>
              </pc2:cmMkLst>
            </pc226:cmChg>
          </p:ext>
        </pc:extLst>
      </pc:sldChg>
      <pc:sldChg chg="modSp">
        <pc:chgData name="Adam Ray" userId="S::adam.ray@scouts.org.uk::55e35bce-ead9-4df5-9235-184f6cd38396" providerId="AD" clId="Web-{3CC47477-0835-459A-FA27-EF2371182AFA}" dt="2023-10-31T18:50:17.844" v="10" actId="20577"/>
        <pc:sldMkLst>
          <pc:docMk/>
          <pc:sldMk cId="795480516" sldId="733"/>
        </pc:sldMkLst>
        <pc:spChg chg="mod">
          <ac:chgData name="Adam Ray" userId="S::adam.ray@scouts.org.uk::55e35bce-ead9-4df5-9235-184f6cd38396" providerId="AD" clId="Web-{3CC47477-0835-459A-FA27-EF2371182AFA}" dt="2023-10-31T18:50:17.844" v="10" actId="20577"/>
          <ac:spMkLst>
            <pc:docMk/>
            <pc:sldMk cId="795480516" sldId="733"/>
            <ac:spMk id="7" creationId="{4DA679D9-28C7-A1B3-F5D5-A9FD12A0CF16}"/>
          </ac:spMkLst>
        </pc:spChg>
      </pc:sldChg>
      <pc:sldChg chg="modSp">
        <pc:chgData name="Adam Ray" userId="S::adam.ray@scouts.org.uk::55e35bce-ead9-4df5-9235-184f6cd38396" providerId="AD" clId="Web-{3CC47477-0835-459A-FA27-EF2371182AFA}" dt="2023-10-31T18:50:11.672" v="0" actId="20577"/>
        <pc:sldMkLst>
          <pc:docMk/>
          <pc:sldMk cId="488881777" sldId="785"/>
        </pc:sldMkLst>
        <pc:spChg chg="mod">
          <ac:chgData name="Adam Ray" userId="S::adam.ray@scouts.org.uk::55e35bce-ead9-4df5-9235-184f6cd38396" providerId="AD" clId="Web-{3CC47477-0835-459A-FA27-EF2371182AFA}" dt="2023-10-31T18:50:11.672" v="0" actId="20577"/>
          <ac:spMkLst>
            <pc:docMk/>
            <pc:sldMk cId="488881777" sldId="785"/>
            <ac:spMk id="7" creationId="{F0E78806-A03B-0FBE-97E3-82CBD067D0C8}"/>
          </ac:spMkLst>
        </pc:spChg>
      </pc:sldChg>
      <pc:sldChg chg="modNotes">
        <pc:chgData name="Adam Ray" userId="S::adam.ray@scouts.org.uk::55e35bce-ead9-4df5-9235-184f6cd38396" providerId="AD" clId="Web-{3CC47477-0835-459A-FA27-EF2371182AFA}" dt="2023-10-31T20:29:01.073" v="19"/>
        <pc:sldMkLst>
          <pc:docMk/>
          <pc:sldMk cId="1296163990" sldId="850"/>
        </pc:sldMkLst>
      </pc:sldChg>
      <pc:sldChg chg="delCm">
        <pc:chgData name="Adam Ray" userId="S::adam.ray@scouts.org.uk::55e35bce-ead9-4df5-9235-184f6cd38396" providerId="AD" clId="Web-{3CC47477-0835-459A-FA27-EF2371182AFA}" dt="2023-10-31T20:28:42.697" v="16"/>
        <pc:sldMkLst>
          <pc:docMk/>
          <pc:sldMk cId="1274688302" sldId="859"/>
        </pc:sldMkLst>
        <pc:extLst>
          <p:ext xmlns:p="http://schemas.openxmlformats.org/presentationml/2006/main" uri="{D6D511B9-2390-475A-947B-AFAB55BFBCF1}">
            <pc226:cmChg xmlns:pc226="http://schemas.microsoft.com/office/powerpoint/2022/06/main/command" chg="del">
              <pc226:chgData name="Adam Ray" userId="S::adam.ray@scouts.org.uk::55e35bce-ead9-4df5-9235-184f6cd38396" providerId="AD" clId="Web-{3CC47477-0835-459A-FA27-EF2371182AFA}" dt="2023-10-31T20:28:42.697" v="16"/>
              <pc2:cmMkLst xmlns:pc2="http://schemas.microsoft.com/office/powerpoint/2019/9/main/command">
                <pc:docMk/>
                <pc:sldMk cId="1274688302" sldId="859"/>
                <pc2:cmMk id="{913316E9-3BAA-455C-9EF8-B8663AA95FF4}"/>
              </pc2:cmMkLst>
            </pc226:cmChg>
          </p:ext>
        </pc:extLst>
      </pc:sldChg>
      <pc:sldChg chg="delCm">
        <pc:chgData name="Adam Ray" userId="S::adam.ray@scouts.org.uk::55e35bce-ead9-4df5-9235-184f6cd38396" providerId="AD" clId="Web-{3CC47477-0835-459A-FA27-EF2371182AFA}" dt="2023-10-31T20:28:42.697" v="17"/>
        <pc:sldMkLst>
          <pc:docMk/>
          <pc:sldMk cId="3539737032" sldId="865"/>
        </pc:sldMkLst>
        <pc:extLst>
          <p:ext xmlns:p="http://schemas.openxmlformats.org/presentationml/2006/main" uri="{D6D511B9-2390-475A-947B-AFAB55BFBCF1}">
            <pc226:cmChg xmlns:pc226="http://schemas.microsoft.com/office/powerpoint/2022/06/main/command" chg="del">
              <pc226:chgData name="Adam Ray" userId="S::adam.ray@scouts.org.uk::55e35bce-ead9-4df5-9235-184f6cd38396" providerId="AD" clId="Web-{3CC47477-0835-459A-FA27-EF2371182AFA}" dt="2023-10-31T20:28:42.697" v="17"/>
              <pc2:cmMkLst xmlns:pc2="http://schemas.microsoft.com/office/powerpoint/2019/9/main/command">
                <pc:docMk/>
                <pc:sldMk cId="3539737032" sldId="865"/>
                <pc2:cmMk id="{D49FDF43-DE9C-46E9-A679-7C0C8243D7E2}"/>
              </pc2:cmMkLst>
            </pc226:cmChg>
          </p:ext>
        </pc:extLst>
      </pc:sldChg>
    </pc:docChg>
  </pc:docChgLst>
  <pc:docChgLst>
    <pc:chgData name="Kirsty Waugh" userId="S::kirsty.waugh@scouts.org.uk::3c8af125-a979-4ee5-804b-4b718550c0d7" providerId="AD" clId="Web-{E82CCE1C-35D7-9293-8A83-DE0479A237BD}"/>
    <pc:docChg chg="modSld">
      <pc:chgData name="Kirsty Waugh" userId="S::kirsty.waugh@scouts.org.uk::3c8af125-a979-4ee5-804b-4b718550c0d7" providerId="AD" clId="Web-{E82CCE1C-35D7-9293-8A83-DE0479A237BD}" dt="2023-10-31T11:27:02.366" v="25" actId="20577"/>
      <pc:docMkLst>
        <pc:docMk/>
      </pc:docMkLst>
      <pc:sldChg chg="modSp">
        <pc:chgData name="Kirsty Waugh" userId="S::kirsty.waugh@scouts.org.uk::3c8af125-a979-4ee5-804b-4b718550c0d7" providerId="AD" clId="Web-{E82CCE1C-35D7-9293-8A83-DE0479A237BD}" dt="2023-10-31T11:27:02.366" v="25" actId="20577"/>
        <pc:sldMkLst>
          <pc:docMk/>
          <pc:sldMk cId="995131127" sldId="708"/>
        </pc:sldMkLst>
        <pc:spChg chg="mod">
          <ac:chgData name="Kirsty Waugh" userId="S::kirsty.waugh@scouts.org.uk::3c8af125-a979-4ee5-804b-4b718550c0d7" providerId="AD" clId="Web-{E82CCE1C-35D7-9293-8A83-DE0479A237BD}" dt="2023-10-31T11:27:02.366" v="25" actId="20577"/>
          <ac:spMkLst>
            <pc:docMk/>
            <pc:sldMk cId="995131127" sldId="708"/>
            <ac:spMk id="5" creationId="{00000000-0000-0000-0000-000000000000}"/>
          </ac:spMkLst>
        </pc:spChg>
      </pc:sldChg>
      <pc:sldChg chg="modSp">
        <pc:chgData name="Kirsty Waugh" userId="S::kirsty.waugh@scouts.org.uk::3c8af125-a979-4ee5-804b-4b718550c0d7" providerId="AD" clId="Web-{E82CCE1C-35D7-9293-8A83-DE0479A237BD}" dt="2023-10-30T15:35:10.632" v="13"/>
        <pc:sldMkLst>
          <pc:docMk/>
          <pc:sldMk cId="868915655" sldId="855"/>
        </pc:sldMkLst>
        <pc:graphicFrameChg chg="mod modGraphic">
          <ac:chgData name="Kirsty Waugh" userId="S::kirsty.waugh@scouts.org.uk::3c8af125-a979-4ee5-804b-4b718550c0d7" providerId="AD" clId="Web-{E82CCE1C-35D7-9293-8A83-DE0479A237BD}" dt="2023-10-30T15:35:10.632" v="13"/>
          <ac:graphicFrameMkLst>
            <pc:docMk/>
            <pc:sldMk cId="868915655" sldId="855"/>
            <ac:graphicFrameMk id="3" creationId="{CA6BBCD2-8BDC-5016-2873-F9024C417E7F}"/>
          </ac:graphicFrameMkLst>
        </pc:graphicFrameChg>
      </pc:sldChg>
    </pc:docChg>
  </pc:docChgLst>
  <pc:docChgLst>
    <pc:chgData name="Kirsty Waugh" userId="S::kirsty.waugh@scouts.org.uk::3c8af125-a979-4ee5-804b-4b718550c0d7" providerId="AD" clId="Web-{38A4DDAB-5666-635A-EA9F-E640BD3443C4}"/>
    <pc:docChg chg="modSld">
      <pc:chgData name="Kirsty Waugh" userId="S::kirsty.waugh@scouts.org.uk::3c8af125-a979-4ee5-804b-4b718550c0d7" providerId="AD" clId="Web-{38A4DDAB-5666-635A-EA9F-E640BD3443C4}" dt="2023-10-31T17:13:42.878" v="2" actId="20577"/>
      <pc:docMkLst>
        <pc:docMk/>
      </pc:docMkLst>
      <pc:sldChg chg="modSp">
        <pc:chgData name="Kirsty Waugh" userId="S::kirsty.waugh@scouts.org.uk::3c8af125-a979-4ee5-804b-4b718550c0d7" providerId="AD" clId="Web-{38A4DDAB-5666-635A-EA9F-E640BD3443C4}" dt="2023-10-31T17:13:42.878" v="2" actId="20577"/>
        <pc:sldMkLst>
          <pc:docMk/>
          <pc:sldMk cId="995131127" sldId="708"/>
        </pc:sldMkLst>
        <pc:spChg chg="mod">
          <ac:chgData name="Kirsty Waugh" userId="S::kirsty.waugh@scouts.org.uk::3c8af125-a979-4ee5-804b-4b718550c0d7" providerId="AD" clId="Web-{38A4DDAB-5666-635A-EA9F-E640BD3443C4}" dt="2023-10-31T17:13:42.878" v="2" actId="20577"/>
          <ac:spMkLst>
            <pc:docMk/>
            <pc:sldMk cId="995131127" sldId="708"/>
            <ac:spMk id="5" creationId="{00000000-0000-0000-0000-000000000000}"/>
          </ac:spMkLst>
        </pc:spChg>
      </pc:sldChg>
    </pc:docChg>
  </pc:docChgLst>
  <pc:docChgLst>
    <pc:chgData name="Adam Ray" userId="S::adam.ray@scouts.org.uk::55e35bce-ead9-4df5-9235-184f6cd38396" providerId="AD" clId="Web-{E7CE2B04-84FC-D006-E960-ADEB03AB764B}"/>
    <pc:docChg chg="modSld">
      <pc:chgData name="Adam Ray" userId="S::adam.ray@scouts.org.uk::55e35bce-ead9-4df5-9235-184f6cd38396" providerId="AD" clId="Web-{E7CE2B04-84FC-D006-E960-ADEB03AB764B}" dt="2023-10-31T14:27:37.222" v="93" actId="20577"/>
      <pc:docMkLst>
        <pc:docMk/>
      </pc:docMkLst>
      <pc:sldChg chg="modSp modCm">
        <pc:chgData name="Adam Ray" userId="S::adam.ray@scouts.org.uk::55e35bce-ead9-4df5-9235-184f6cd38396" providerId="AD" clId="Web-{E7CE2B04-84FC-D006-E960-ADEB03AB764B}" dt="2023-10-31T14:27:16.893" v="88" actId="20577"/>
        <pc:sldMkLst>
          <pc:docMk/>
          <pc:sldMk cId="619815647" sldId="330"/>
        </pc:sldMkLst>
        <pc:spChg chg="mod">
          <ac:chgData name="Adam Ray" userId="S::adam.ray@scouts.org.uk::55e35bce-ead9-4df5-9235-184f6cd38396" providerId="AD" clId="Web-{E7CE2B04-84FC-D006-E960-ADEB03AB764B}" dt="2023-10-31T14:25:22.155" v="80" actId="20577"/>
          <ac:spMkLst>
            <pc:docMk/>
            <pc:sldMk cId="619815647" sldId="330"/>
            <ac:spMk id="2" creationId="{17EF3307-79D3-F146-FFE9-B8D4BBDB1EDE}"/>
          </ac:spMkLst>
        </pc:spChg>
        <pc:spChg chg="mod">
          <ac:chgData name="Adam Ray" userId="S::adam.ray@scouts.org.uk::55e35bce-ead9-4df5-9235-184f6cd38396" providerId="AD" clId="Web-{E7CE2B04-84FC-D006-E960-ADEB03AB764B}" dt="2023-10-31T14:27:16.893" v="88" actId="20577"/>
          <ac:spMkLst>
            <pc:docMk/>
            <pc:sldMk cId="619815647" sldId="330"/>
            <ac:spMk id="5" creationId="{B73DD310-DB68-14A5-DBE5-92BC40AFF9F0}"/>
          </ac:spMkLst>
        </pc:spChg>
        <pc:extLst>
          <p:ext xmlns:p="http://schemas.openxmlformats.org/presentationml/2006/main" uri="{D6D511B9-2390-475A-947B-AFAB55BFBCF1}">
            <pc226:cmChg xmlns:pc226="http://schemas.microsoft.com/office/powerpoint/2022/06/main/command" chg="mod">
              <pc226:chgData name="Adam Ray" userId="S::adam.ray@scouts.org.uk::55e35bce-ead9-4df5-9235-184f6cd38396" providerId="AD" clId="Web-{E7CE2B04-84FC-D006-E960-ADEB03AB764B}" dt="2023-10-31T14:25:03.045" v="79" actId="20577"/>
              <pc2:cmMkLst xmlns:pc2="http://schemas.microsoft.com/office/powerpoint/2019/9/main/command">
                <pc:docMk/>
                <pc:sldMk cId="619815647" sldId="330"/>
                <pc2:cmMk id="{36529484-C383-405E-90B9-790DF0DAC405}"/>
              </pc2:cmMkLst>
            </pc226:cmChg>
          </p:ext>
        </pc:extLst>
      </pc:sldChg>
      <pc:sldChg chg="modSp">
        <pc:chgData name="Adam Ray" userId="S::adam.ray@scouts.org.uk::55e35bce-ead9-4df5-9235-184f6cd38396" providerId="AD" clId="Web-{E7CE2B04-84FC-D006-E960-ADEB03AB764B}" dt="2023-10-31T14:16:08.871" v="8" actId="20577"/>
        <pc:sldMkLst>
          <pc:docMk/>
          <pc:sldMk cId="995131127" sldId="708"/>
        </pc:sldMkLst>
        <pc:spChg chg="mod">
          <ac:chgData name="Adam Ray" userId="S::adam.ray@scouts.org.uk::55e35bce-ead9-4df5-9235-184f6cd38396" providerId="AD" clId="Web-{E7CE2B04-84FC-D006-E960-ADEB03AB764B}" dt="2023-10-31T14:16:08.871" v="8" actId="20577"/>
          <ac:spMkLst>
            <pc:docMk/>
            <pc:sldMk cId="995131127" sldId="708"/>
            <ac:spMk id="5" creationId="{00000000-0000-0000-0000-000000000000}"/>
          </ac:spMkLst>
        </pc:spChg>
      </pc:sldChg>
      <pc:sldChg chg="modSp">
        <pc:chgData name="Adam Ray" userId="S::adam.ray@scouts.org.uk::55e35bce-ead9-4df5-9235-184f6cd38396" providerId="AD" clId="Web-{E7CE2B04-84FC-D006-E960-ADEB03AB764B}" dt="2023-10-31T14:22:23.836" v="75" actId="20577"/>
        <pc:sldMkLst>
          <pc:docMk/>
          <pc:sldMk cId="258766891" sldId="806"/>
        </pc:sldMkLst>
        <pc:spChg chg="mod">
          <ac:chgData name="Adam Ray" userId="S::adam.ray@scouts.org.uk::55e35bce-ead9-4df5-9235-184f6cd38396" providerId="AD" clId="Web-{E7CE2B04-84FC-D006-E960-ADEB03AB764B}" dt="2023-10-31T14:22:23.836" v="75" actId="20577"/>
          <ac:spMkLst>
            <pc:docMk/>
            <pc:sldMk cId="258766891" sldId="806"/>
            <ac:spMk id="2" creationId="{522EEE5A-03CB-9A33-623D-6B7257D58158}"/>
          </ac:spMkLst>
        </pc:spChg>
      </pc:sldChg>
      <pc:sldChg chg="modSp">
        <pc:chgData name="Adam Ray" userId="S::adam.ray@scouts.org.uk::55e35bce-ead9-4df5-9235-184f6cd38396" providerId="AD" clId="Web-{E7CE2B04-84FC-D006-E960-ADEB03AB764B}" dt="2023-10-31T14:17:34.795" v="10" actId="20577"/>
        <pc:sldMkLst>
          <pc:docMk/>
          <pc:sldMk cId="369637617" sldId="840"/>
        </pc:sldMkLst>
        <pc:spChg chg="mod">
          <ac:chgData name="Adam Ray" userId="S::adam.ray@scouts.org.uk::55e35bce-ead9-4df5-9235-184f6cd38396" providerId="AD" clId="Web-{E7CE2B04-84FC-D006-E960-ADEB03AB764B}" dt="2023-10-31T14:17:34.795" v="10" actId="20577"/>
          <ac:spMkLst>
            <pc:docMk/>
            <pc:sldMk cId="369637617" sldId="840"/>
            <ac:spMk id="6" creationId="{3C87C273-51ED-12B6-BDD7-7A28E31A4BF8}"/>
          </ac:spMkLst>
        </pc:spChg>
      </pc:sldChg>
      <pc:sldChg chg="modSp">
        <pc:chgData name="Adam Ray" userId="S::adam.ray@scouts.org.uk::55e35bce-ead9-4df5-9235-184f6cd38396" providerId="AD" clId="Web-{E7CE2B04-84FC-D006-E960-ADEB03AB764B}" dt="2023-10-31T14:21:38.444" v="66" actId="20577"/>
        <pc:sldMkLst>
          <pc:docMk/>
          <pc:sldMk cId="469026881" sldId="849"/>
        </pc:sldMkLst>
        <pc:spChg chg="mod">
          <ac:chgData name="Adam Ray" userId="S::adam.ray@scouts.org.uk::55e35bce-ead9-4df5-9235-184f6cd38396" providerId="AD" clId="Web-{E7CE2B04-84FC-D006-E960-ADEB03AB764B}" dt="2023-10-31T14:21:38.444" v="66" actId="20577"/>
          <ac:spMkLst>
            <pc:docMk/>
            <pc:sldMk cId="469026881" sldId="849"/>
            <ac:spMk id="4" creationId="{DF20E3B6-5A42-BD0C-97FF-9F4101A8AFCC}"/>
          </ac:spMkLst>
        </pc:spChg>
      </pc:sldChg>
      <pc:sldChg chg="modSp">
        <pc:chgData name="Adam Ray" userId="S::adam.ray@scouts.org.uk::55e35bce-ead9-4df5-9235-184f6cd38396" providerId="AD" clId="Web-{E7CE2B04-84FC-D006-E960-ADEB03AB764B}" dt="2023-10-31T14:27:37.222" v="93" actId="20577"/>
        <pc:sldMkLst>
          <pc:docMk/>
          <pc:sldMk cId="1296163990" sldId="850"/>
        </pc:sldMkLst>
        <pc:spChg chg="mod">
          <ac:chgData name="Adam Ray" userId="S::adam.ray@scouts.org.uk::55e35bce-ead9-4df5-9235-184f6cd38396" providerId="AD" clId="Web-{E7CE2B04-84FC-D006-E960-ADEB03AB764B}" dt="2023-10-31T14:27:37.222" v="93" actId="20577"/>
          <ac:spMkLst>
            <pc:docMk/>
            <pc:sldMk cId="1296163990" sldId="850"/>
            <ac:spMk id="5" creationId="{E2827EB6-736F-73F0-FABA-E70E55A602D5}"/>
          </ac:spMkLst>
        </pc:spChg>
      </pc:sldChg>
      <pc:sldChg chg="modSp">
        <pc:chgData name="Adam Ray" userId="S::adam.ray@scouts.org.uk::55e35bce-ead9-4df5-9235-184f6cd38396" providerId="AD" clId="Web-{E7CE2B04-84FC-D006-E960-ADEB03AB764B}" dt="2023-10-31T14:18:21.875" v="64"/>
        <pc:sldMkLst>
          <pc:docMk/>
          <pc:sldMk cId="2756254436" sldId="857"/>
        </pc:sldMkLst>
        <pc:graphicFrameChg chg="mod modGraphic">
          <ac:chgData name="Adam Ray" userId="S::adam.ray@scouts.org.uk::55e35bce-ead9-4df5-9235-184f6cd38396" providerId="AD" clId="Web-{E7CE2B04-84FC-D006-E960-ADEB03AB764B}" dt="2023-10-31T14:18:21.875" v="64"/>
          <ac:graphicFrameMkLst>
            <pc:docMk/>
            <pc:sldMk cId="2756254436" sldId="857"/>
            <ac:graphicFrameMk id="3" creationId="{CA6BBCD2-8BDC-5016-2873-F9024C417E7F}"/>
          </ac:graphicFrameMkLst>
        </pc:graphicFrameChg>
      </pc:sldChg>
    </pc:docChg>
  </pc:docChgLst>
  <pc:docChgLst>
    <pc:chgData name="Adam Ray" userId="S::adam.ray@scouts.org.uk::55e35bce-ead9-4df5-9235-184f6cd38396" providerId="AD" clId="Web-{89140C49-B7A6-8EC0-1C7E-F54C1B14674E}"/>
    <pc:docChg chg="mod modSld">
      <pc:chgData name="Adam Ray" userId="S::adam.ray@scouts.org.uk::55e35bce-ead9-4df5-9235-184f6cd38396" providerId="AD" clId="Web-{89140C49-B7A6-8EC0-1C7E-F54C1B14674E}" dt="2023-10-25T10:33:22.625" v="50" actId="20577"/>
      <pc:docMkLst>
        <pc:docMk/>
      </pc:docMkLst>
      <pc:sldChg chg="modSp">
        <pc:chgData name="Adam Ray" userId="S::adam.ray@scouts.org.uk::55e35bce-ead9-4df5-9235-184f6cd38396" providerId="AD" clId="Web-{89140C49-B7A6-8EC0-1C7E-F54C1B14674E}" dt="2023-10-25T10:32:19.138" v="39" actId="20577"/>
        <pc:sldMkLst>
          <pc:docMk/>
          <pc:sldMk cId="4167905585" sldId="668"/>
        </pc:sldMkLst>
        <pc:spChg chg="mod">
          <ac:chgData name="Adam Ray" userId="S::adam.ray@scouts.org.uk::55e35bce-ead9-4df5-9235-184f6cd38396" providerId="AD" clId="Web-{89140C49-B7A6-8EC0-1C7E-F54C1B14674E}" dt="2023-10-25T10:32:19.138" v="39" actId="20577"/>
          <ac:spMkLst>
            <pc:docMk/>
            <pc:sldMk cId="4167905585" sldId="668"/>
            <ac:spMk id="2" creationId="{C75C9AC6-E8D4-81F8-873B-2AD9102C63CC}"/>
          </ac:spMkLst>
        </pc:spChg>
      </pc:sldChg>
      <pc:sldChg chg="modSp">
        <pc:chgData name="Adam Ray" userId="S::adam.ray@scouts.org.uk::55e35bce-ead9-4df5-9235-184f6cd38396" providerId="AD" clId="Web-{89140C49-B7A6-8EC0-1C7E-F54C1B14674E}" dt="2023-10-25T10:28:23.427" v="24" actId="20577"/>
        <pc:sldMkLst>
          <pc:docMk/>
          <pc:sldMk cId="369637617" sldId="840"/>
        </pc:sldMkLst>
        <pc:spChg chg="mod">
          <ac:chgData name="Adam Ray" userId="S::adam.ray@scouts.org.uk::55e35bce-ead9-4df5-9235-184f6cd38396" providerId="AD" clId="Web-{89140C49-B7A6-8EC0-1C7E-F54C1B14674E}" dt="2023-10-25T10:28:23.427" v="24" actId="20577"/>
          <ac:spMkLst>
            <pc:docMk/>
            <pc:sldMk cId="369637617" sldId="840"/>
            <ac:spMk id="6" creationId="{3C87C273-51ED-12B6-BDD7-7A28E31A4BF8}"/>
          </ac:spMkLst>
        </pc:spChg>
      </pc:sldChg>
      <pc:sldChg chg="modSp">
        <pc:chgData name="Adam Ray" userId="S::adam.ray@scouts.org.uk::55e35bce-ead9-4df5-9235-184f6cd38396" providerId="AD" clId="Web-{89140C49-B7A6-8EC0-1C7E-F54C1B14674E}" dt="2023-10-25T10:30:44.963" v="28" actId="20577"/>
        <pc:sldMkLst>
          <pc:docMk/>
          <pc:sldMk cId="469026881" sldId="849"/>
        </pc:sldMkLst>
        <pc:spChg chg="mod">
          <ac:chgData name="Adam Ray" userId="S::adam.ray@scouts.org.uk::55e35bce-ead9-4df5-9235-184f6cd38396" providerId="AD" clId="Web-{89140C49-B7A6-8EC0-1C7E-F54C1B14674E}" dt="2023-10-25T10:30:44.963" v="28" actId="20577"/>
          <ac:spMkLst>
            <pc:docMk/>
            <pc:sldMk cId="469026881" sldId="849"/>
            <ac:spMk id="4" creationId="{DF20E3B6-5A42-BD0C-97FF-9F4101A8AFCC}"/>
          </ac:spMkLst>
        </pc:spChg>
      </pc:sldChg>
      <pc:sldChg chg="modSp">
        <pc:chgData name="Adam Ray" userId="S::adam.ray@scouts.org.uk::55e35bce-ead9-4df5-9235-184f6cd38396" providerId="AD" clId="Web-{89140C49-B7A6-8EC0-1C7E-F54C1B14674E}" dt="2023-10-25T10:33:22.625" v="50" actId="20577"/>
        <pc:sldMkLst>
          <pc:docMk/>
          <pc:sldMk cId="1458122455" sldId="852"/>
        </pc:sldMkLst>
        <pc:spChg chg="mod">
          <ac:chgData name="Adam Ray" userId="S::adam.ray@scouts.org.uk::55e35bce-ead9-4df5-9235-184f6cd38396" providerId="AD" clId="Web-{89140C49-B7A6-8EC0-1C7E-F54C1B14674E}" dt="2023-10-25T10:33:22.625" v="50" actId="20577"/>
          <ac:spMkLst>
            <pc:docMk/>
            <pc:sldMk cId="1458122455" sldId="852"/>
            <ac:spMk id="5" creationId="{84C48AF2-D2F6-4B0B-E304-455BB55D6C69}"/>
          </ac:spMkLst>
        </pc:spChg>
      </pc:sldChg>
      <pc:sldChg chg="modSp">
        <pc:chgData name="Adam Ray" userId="S::adam.ray@scouts.org.uk::55e35bce-ead9-4df5-9235-184f6cd38396" providerId="AD" clId="Web-{89140C49-B7A6-8EC0-1C7E-F54C1B14674E}" dt="2023-10-25T10:32:42.842" v="45" actId="20577"/>
        <pc:sldMkLst>
          <pc:docMk/>
          <pc:sldMk cId="224966501" sldId="853"/>
        </pc:sldMkLst>
        <pc:spChg chg="mod">
          <ac:chgData name="Adam Ray" userId="S::adam.ray@scouts.org.uk::55e35bce-ead9-4df5-9235-184f6cd38396" providerId="AD" clId="Web-{89140C49-B7A6-8EC0-1C7E-F54C1B14674E}" dt="2023-10-25T10:32:42.842" v="45" actId="20577"/>
          <ac:spMkLst>
            <pc:docMk/>
            <pc:sldMk cId="224966501" sldId="853"/>
            <ac:spMk id="2" creationId="{C75C9AC6-E8D4-81F8-873B-2AD9102C63CC}"/>
          </ac:spMkLst>
        </pc:spChg>
      </pc:sldChg>
      <pc:sldChg chg="modSp">
        <pc:chgData name="Adam Ray" userId="S::adam.ray@scouts.org.uk::55e35bce-ead9-4df5-9235-184f6cd38396" providerId="AD" clId="Web-{89140C49-B7A6-8EC0-1C7E-F54C1B14674E}" dt="2023-10-25T10:27:56.051" v="15" actId="20577"/>
        <pc:sldMkLst>
          <pc:docMk/>
          <pc:sldMk cId="3729341280" sldId="856"/>
        </pc:sldMkLst>
        <pc:spChg chg="mod">
          <ac:chgData name="Adam Ray" userId="S::adam.ray@scouts.org.uk::55e35bce-ead9-4df5-9235-184f6cd38396" providerId="AD" clId="Web-{89140C49-B7A6-8EC0-1C7E-F54C1B14674E}" dt="2023-10-25T10:27:56.051" v="15" actId="20577"/>
          <ac:spMkLst>
            <pc:docMk/>
            <pc:sldMk cId="3729341280" sldId="856"/>
            <ac:spMk id="7" creationId="{4DA679D9-28C7-A1B3-F5D5-A9FD12A0CF16}"/>
          </ac:spMkLst>
        </pc:spChg>
      </pc:sldChg>
      <pc:sldChg chg="addCm">
        <pc:chgData name="Adam Ray" userId="S::adam.ray@scouts.org.uk::55e35bce-ead9-4df5-9235-184f6cd38396" providerId="AD" clId="Web-{89140C49-B7A6-8EC0-1C7E-F54C1B14674E}" dt="2023-10-25T10:29:55.961" v="26"/>
        <pc:sldMkLst>
          <pc:docMk/>
          <pc:sldMk cId="1274688302" sldId="859"/>
        </pc:sldMkLst>
        <pc:extLst>
          <p:ext xmlns:p="http://schemas.openxmlformats.org/presentationml/2006/main" uri="{D6D511B9-2390-475A-947B-AFAB55BFBCF1}">
            <pc226:cmChg xmlns:pc226="http://schemas.microsoft.com/office/powerpoint/2022/06/main/command" chg="add">
              <pc226:chgData name="Adam Ray" userId="S::adam.ray@scouts.org.uk::55e35bce-ead9-4df5-9235-184f6cd38396" providerId="AD" clId="Web-{89140C49-B7A6-8EC0-1C7E-F54C1B14674E}" dt="2023-10-25T10:29:55.961" v="26"/>
              <pc2:cmMkLst xmlns:pc2="http://schemas.microsoft.com/office/powerpoint/2019/9/main/command">
                <pc:docMk/>
                <pc:sldMk cId="1274688302" sldId="859"/>
                <pc2:cmMk id="{913316E9-3BAA-455C-9EF8-B8663AA95FF4}"/>
              </pc2:cmMkLst>
            </pc226:cmChg>
          </p:ext>
        </pc:extLst>
      </pc:sldChg>
    </pc:docChg>
  </pc:docChgLst>
  <pc:docChgLst>
    <pc:chgData name="Hamish Stout" userId="15f0d1f2-19d0-420e-bacb-e7d8d634b31c" providerId="ADAL" clId="{8C86F349-498B-48E0-A130-1CFD8D8E3714}"/>
    <pc:docChg chg="undo custSel addSld delSld modSld sldOrd">
      <pc:chgData name="Hamish Stout" userId="15f0d1f2-19d0-420e-bacb-e7d8d634b31c" providerId="ADAL" clId="{8C86F349-498B-48E0-A130-1CFD8D8E3714}" dt="2023-10-31T11:17:17.854" v="897" actId="20577"/>
      <pc:docMkLst>
        <pc:docMk/>
      </pc:docMkLst>
      <pc:sldChg chg="modSp mod addCm modCm">
        <pc:chgData name="Hamish Stout" userId="15f0d1f2-19d0-420e-bacb-e7d8d634b31c" providerId="ADAL" clId="{8C86F349-498B-48E0-A130-1CFD8D8E3714}" dt="2023-10-29T09:57:34.599" v="476"/>
        <pc:sldMkLst>
          <pc:docMk/>
          <pc:sldMk cId="619815647" sldId="330"/>
        </pc:sldMkLst>
        <pc:spChg chg="mod">
          <ac:chgData name="Hamish Stout" userId="15f0d1f2-19d0-420e-bacb-e7d8d634b31c" providerId="ADAL" clId="{8C86F349-498B-48E0-A130-1CFD8D8E3714}" dt="2023-10-29T09:55:38.678" v="474" actId="6549"/>
          <ac:spMkLst>
            <pc:docMk/>
            <pc:sldMk cId="619815647" sldId="330"/>
            <ac:spMk id="2" creationId="{17EF3307-79D3-F146-FFE9-B8D4BBDB1EDE}"/>
          </ac:spMkLst>
        </pc:spChg>
        <pc:spChg chg="mod">
          <ac:chgData name="Hamish Stout" userId="15f0d1f2-19d0-420e-bacb-e7d8d634b31c" providerId="ADAL" clId="{8C86F349-498B-48E0-A130-1CFD8D8E3714}" dt="2023-10-25T08:52:56.088" v="173" actId="20577"/>
          <ac:spMkLst>
            <pc:docMk/>
            <pc:sldMk cId="619815647" sldId="330"/>
            <ac:spMk id="5" creationId="{B73DD310-DB68-14A5-DBE5-92BC40AFF9F0}"/>
          </ac:spMkLst>
        </pc:spChg>
        <pc:extLst>
          <p:ext xmlns:p="http://schemas.openxmlformats.org/presentationml/2006/main" uri="{D6D511B9-2390-475A-947B-AFAB55BFBCF1}">
            <pc226:cmChg xmlns:pc226="http://schemas.microsoft.com/office/powerpoint/2022/06/main/command" chg="add mod">
              <pc226:chgData name="Hamish Stout" userId="15f0d1f2-19d0-420e-bacb-e7d8d634b31c" providerId="ADAL" clId="{8C86F349-498B-48E0-A130-1CFD8D8E3714}" dt="2023-10-29T09:57:34.599" v="476"/>
              <pc2:cmMkLst xmlns:pc2="http://schemas.microsoft.com/office/powerpoint/2019/9/main/command">
                <pc:docMk/>
                <pc:sldMk cId="619815647" sldId="330"/>
                <pc2:cmMk id="{36529484-C383-405E-90B9-790DF0DAC405}"/>
              </pc2:cmMkLst>
              <pc226:cmRplyChg chg="add mod">
                <pc226:chgData name="Hamish Stout" userId="15f0d1f2-19d0-420e-bacb-e7d8d634b31c" providerId="ADAL" clId="{8C86F349-498B-48E0-A130-1CFD8D8E3714}" dt="2023-10-29T09:57:34.599" v="476"/>
                <pc2:cmRplyMkLst xmlns:pc2="http://schemas.microsoft.com/office/powerpoint/2019/9/main/command">
                  <pc:docMk/>
                  <pc:sldMk cId="619815647" sldId="330"/>
                  <pc2:cmMk id="{36529484-C383-405E-90B9-790DF0DAC405}"/>
                  <pc2:cmRplyMk id="{D014ADC6-0FD5-43B7-B98D-77EE916B75E1}"/>
                </pc2:cmRplyMkLst>
              </pc226:cmRplyChg>
            </pc226:cmChg>
          </p:ext>
        </pc:extLst>
      </pc:sldChg>
      <pc:sldChg chg="modSp mod">
        <pc:chgData name="Hamish Stout" userId="15f0d1f2-19d0-420e-bacb-e7d8d634b31c" providerId="ADAL" clId="{8C86F349-498B-48E0-A130-1CFD8D8E3714}" dt="2023-10-31T11:15:29.720" v="887" actId="6549"/>
        <pc:sldMkLst>
          <pc:docMk/>
          <pc:sldMk cId="2811152509" sldId="665"/>
        </pc:sldMkLst>
        <pc:spChg chg="mod">
          <ac:chgData name="Hamish Stout" userId="15f0d1f2-19d0-420e-bacb-e7d8d634b31c" providerId="ADAL" clId="{8C86F349-498B-48E0-A130-1CFD8D8E3714}" dt="2023-10-31T11:15:29.720" v="887" actId="6549"/>
          <ac:spMkLst>
            <pc:docMk/>
            <pc:sldMk cId="2811152509" sldId="665"/>
            <ac:spMk id="15" creationId="{3FE31CB4-5423-A997-8C1B-AFA706E3D856}"/>
          </ac:spMkLst>
        </pc:spChg>
      </pc:sldChg>
      <pc:sldChg chg="modSp mod">
        <pc:chgData name="Hamish Stout" userId="15f0d1f2-19d0-420e-bacb-e7d8d634b31c" providerId="ADAL" clId="{8C86F349-498B-48E0-A130-1CFD8D8E3714}" dt="2023-10-28T10:06:11.098" v="465" actId="20577"/>
        <pc:sldMkLst>
          <pc:docMk/>
          <pc:sldMk cId="626761566" sldId="814"/>
        </pc:sldMkLst>
        <pc:spChg chg="mod">
          <ac:chgData name="Hamish Stout" userId="15f0d1f2-19d0-420e-bacb-e7d8d634b31c" providerId="ADAL" clId="{8C86F349-498B-48E0-A130-1CFD8D8E3714}" dt="2023-10-28T10:06:11.098" v="465" actId="20577"/>
          <ac:spMkLst>
            <pc:docMk/>
            <pc:sldMk cId="626761566" sldId="814"/>
            <ac:spMk id="3" creationId="{2A3D6380-AD62-9533-2C66-E0666E223068}"/>
          </ac:spMkLst>
        </pc:spChg>
      </pc:sldChg>
      <pc:sldChg chg="modSp mod">
        <pc:chgData name="Hamish Stout" userId="15f0d1f2-19d0-420e-bacb-e7d8d634b31c" providerId="ADAL" clId="{8C86F349-498B-48E0-A130-1CFD8D8E3714}" dt="2023-10-28T08:52:48.589" v="427" actId="6549"/>
        <pc:sldMkLst>
          <pc:docMk/>
          <pc:sldMk cId="369637617" sldId="840"/>
        </pc:sldMkLst>
        <pc:spChg chg="mod">
          <ac:chgData name="Hamish Stout" userId="15f0d1f2-19d0-420e-bacb-e7d8d634b31c" providerId="ADAL" clId="{8C86F349-498B-48E0-A130-1CFD8D8E3714}" dt="2023-10-28T08:52:48.589" v="427" actId="6549"/>
          <ac:spMkLst>
            <pc:docMk/>
            <pc:sldMk cId="369637617" sldId="840"/>
            <ac:spMk id="6" creationId="{3C87C273-51ED-12B6-BDD7-7A28E31A4BF8}"/>
          </ac:spMkLst>
        </pc:spChg>
      </pc:sldChg>
      <pc:sldChg chg="modSp mod">
        <pc:chgData name="Hamish Stout" userId="15f0d1f2-19d0-420e-bacb-e7d8d634b31c" providerId="ADAL" clId="{8C86F349-498B-48E0-A130-1CFD8D8E3714}" dt="2023-10-30T14:10:08.940" v="588" actId="20577"/>
        <pc:sldMkLst>
          <pc:docMk/>
          <pc:sldMk cId="3598175689" sldId="841"/>
        </pc:sldMkLst>
        <pc:spChg chg="mod">
          <ac:chgData name="Hamish Stout" userId="15f0d1f2-19d0-420e-bacb-e7d8d634b31c" providerId="ADAL" clId="{8C86F349-498B-48E0-A130-1CFD8D8E3714}" dt="2023-10-25T13:42:56.935" v="394" actId="1076"/>
          <ac:spMkLst>
            <pc:docMk/>
            <pc:sldMk cId="3598175689" sldId="841"/>
            <ac:spMk id="13" creationId="{4110CF28-94E3-7BD5-FBD7-D0D47956A33C}"/>
          </ac:spMkLst>
        </pc:spChg>
        <pc:graphicFrameChg chg="mod">
          <ac:chgData name="Hamish Stout" userId="15f0d1f2-19d0-420e-bacb-e7d8d634b31c" providerId="ADAL" clId="{8C86F349-498B-48E0-A130-1CFD8D8E3714}" dt="2023-10-30T14:10:08.940" v="588" actId="20577"/>
          <ac:graphicFrameMkLst>
            <pc:docMk/>
            <pc:sldMk cId="3598175689" sldId="841"/>
            <ac:graphicFrameMk id="2" creationId="{7E8B1399-C6A6-DCF4-9880-58E21FA6B8CA}"/>
          </ac:graphicFrameMkLst>
        </pc:graphicFrameChg>
      </pc:sldChg>
      <pc:sldChg chg="modSp mod">
        <pc:chgData name="Hamish Stout" userId="15f0d1f2-19d0-420e-bacb-e7d8d634b31c" providerId="ADAL" clId="{8C86F349-498B-48E0-A130-1CFD8D8E3714}" dt="2023-10-24T14:08:33.996" v="125" actId="1076"/>
        <pc:sldMkLst>
          <pc:docMk/>
          <pc:sldMk cId="1296163990" sldId="850"/>
        </pc:sldMkLst>
        <pc:spChg chg="mod">
          <ac:chgData name="Hamish Stout" userId="15f0d1f2-19d0-420e-bacb-e7d8d634b31c" providerId="ADAL" clId="{8C86F349-498B-48E0-A130-1CFD8D8E3714}" dt="2023-10-24T14:08:26.174" v="124" actId="1076"/>
          <ac:spMkLst>
            <pc:docMk/>
            <pc:sldMk cId="1296163990" sldId="850"/>
            <ac:spMk id="2" creationId="{776549CA-103D-CC93-8E18-660470A9F589}"/>
          </ac:spMkLst>
        </pc:spChg>
        <pc:spChg chg="mod">
          <ac:chgData name="Hamish Stout" userId="15f0d1f2-19d0-420e-bacb-e7d8d634b31c" providerId="ADAL" clId="{8C86F349-498B-48E0-A130-1CFD8D8E3714}" dt="2023-10-24T14:08:33.996" v="125" actId="1076"/>
          <ac:spMkLst>
            <pc:docMk/>
            <pc:sldMk cId="1296163990" sldId="850"/>
            <ac:spMk id="5" creationId="{E2827EB6-736F-73F0-FABA-E70E55A602D5}"/>
          </ac:spMkLst>
        </pc:spChg>
      </pc:sldChg>
      <pc:sldChg chg="modSp mod">
        <pc:chgData name="Hamish Stout" userId="15f0d1f2-19d0-420e-bacb-e7d8d634b31c" providerId="ADAL" clId="{8C86F349-498B-48E0-A130-1CFD8D8E3714}" dt="2023-10-31T11:04:20.535" v="874" actId="255"/>
        <pc:sldMkLst>
          <pc:docMk/>
          <pc:sldMk cId="868915655" sldId="855"/>
        </pc:sldMkLst>
        <pc:spChg chg="mod">
          <ac:chgData name="Hamish Stout" userId="15f0d1f2-19d0-420e-bacb-e7d8d634b31c" providerId="ADAL" clId="{8C86F349-498B-48E0-A130-1CFD8D8E3714}" dt="2023-10-25T13:06:26.910" v="193" actId="20577"/>
          <ac:spMkLst>
            <pc:docMk/>
            <pc:sldMk cId="868915655" sldId="855"/>
            <ac:spMk id="4" creationId="{87A82FBF-B6EB-0A78-A831-560D2238C6B9}"/>
          </ac:spMkLst>
        </pc:spChg>
        <pc:graphicFrameChg chg="modGraphic">
          <ac:chgData name="Hamish Stout" userId="15f0d1f2-19d0-420e-bacb-e7d8d634b31c" providerId="ADAL" clId="{8C86F349-498B-48E0-A130-1CFD8D8E3714}" dt="2023-10-31T11:04:20.535" v="874" actId="255"/>
          <ac:graphicFrameMkLst>
            <pc:docMk/>
            <pc:sldMk cId="868915655" sldId="855"/>
            <ac:graphicFrameMk id="3" creationId="{CA6BBCD2-8BDC-5016-2873-F9024C417E7F}"/>
          </ac:graphicFrameMkLst>
        </pc:graphicFrameChg>
      </pc:sldChg>
      <pc:sldChg chg="modSp mod modTransition">
        <pc:chgData name="Hamish Stout" userId="15f0d1f2-19d0-420e-bacb-e7d8d634b31c" providerId="ADAL" clId="{8C86F349-498B-48E0-A130-1CFD8D8E3714}" dt="2023-10-31T11:14:16.245" v="876"/>
        <pc:sldMkLst>
          <pc:docMk/>
          <pc:sldMk cId="2756254436" sldId="857"/>
        </pc:sldMkLst>
        <pc:graphicFrameChg chg="mod modGraphic">
          <ac:chgData name="Hamish Stout" userId="15f0d1f2-19d0-420e-bacb-e7d8d634b31c" providerId="ADAL" clId="{8C86F349-498B-48E0-A130-1CFD8D8E3714}" dt="2023-10-31T11:10:29.771" v="875"/>
          <ac:graphicFrameMkLst>
            <pc:docMk/>
            <pc:sldMk cId="2756254436" sldId="857"/>
            <ac:graphicFrameMk id="3" creationId="{CA6BBCD2-8BDC-5016-2873-F9024C417E7F}"/>
          </ac:graphicFrameMkLst>
        </pc:graphicFrameChg>
      </pc:sldChg>
      <pc:sldChg chg="modSp ord">
        <pc:chgData name="Hamish Stout" userId="15f0d1f2-19d0-420e-bacb-e7d8d634b31c" providerId="ADAL" clId="{8C86F349-498B-48E0-A130-1CFD8D8E3714}" dt="2023-10-30T14:38:13.555" v="821" actId="20577"/>
        <pc:sldMkLst>
          <pc:docMk/>
          <pc:sldMk cId="4091634358" sldId="858"/>
        </pc:sldMkLst>
        <pc:graphicFrameChg chg="mod">
          <ac:chgData name="Hamish Stout" userId="15f0d1f2-19d0-420e-bacb-e7d8d634b31c" providerId="ADAL" clId="{8C86F349-498B-48E0-A130-1CFD8D8E3714}" dt="2023-10-30T14:38:13.555" v="821" actId="20577"/>
          <ac:graphicFrameMkLst>
            <pc:docMk/>
            <pc:sldMk cId="4091634358" sldId="858"/>
            <ac:graphicFrameMk id="2" creationId="{7E8B1399-C6A6-DCF4-9880-58E21FA6B8CA}"/>
          </ac:graphicFrameMkLst>
        </pc:graphicFrameChg>
      </pc:sldChg>
      <pc:sldChg chg="addSp delSp modSp mod modCm">
        <pc:chgData name="Hamish Stout" userId="15f0d1f2-19d0-420e-bacb-e7d8d634b31c" providerId="ADAL" clId="{8C86F349-498B-48E0-A130-1CFD8D8E3714}" dt="2023-10-30T14:37:01.889" v="803" actId="20577"/>
        <pc:sldMkLst>
          <pc:docMk/>
          <pc:sldMk cId="1274688302" sldId="859"/>
        </pc:sldMkLst>
        <pc:spChg chg="mod">
          <ac:chgData name="Hamish Stout" userId="15f0d1f2-19d0-420e-bacb-e7d8d634b31c" providerId="ADAL" clId="{8C86F349-498B-48E0-A130-1CFD8D8E3714}" dt="2023-10-25T13:11:41.356" v="229" actId="20577"/>
          <ac:spMkLst>
            <pc:docMk/>
            <pc:sldMk cId="1274688302" sldId="859"/>
            <ac:spMk id="4" creationId="{070DC908-3191-58D8-6655-620E2932D20E}"/>
          </ac:spMkLst>
        </pc:spChg>
        <pc:spChg chg="add del mod">
          <ac:chgData name="Hamish Stout" userId="15f0d1f2-19d0-420e-bacb-e7d8d634b31c" providerId="ADAL" clId="{8C86F349-498B-48E0-A130-1CFD8D8E3714}" dt="2023-10-30T14:21:03.523" v="679" actId="478"/>
          <ac:spMkLst>
            <pc:docMk/>
            <pc:sldMk cId="1274688302" sldId="859"/>
            <ac:spMk id="5" creationId="{70ABAF4A-FF6D-56FE-94A7-4F96770F5D9F}"/>
          </ac:spMkLst>
        </pc:spChg>
        <pc:spChg chg="add mod">
          <ac:chgData name="Hamish Stout" userId="15f0d1f2-19d0-420e-bacb-e7d8d634b31c" providerId="ADAL" clId="{8C86F349-498B-48E0-A130-1CFD8D8E3714}" dt="2023-10-30T14:37:01.889" v="803" actId="20577"/>
          <ac:spMkLst>
            <pc:docMk/>
            <pc:sldMk cId="1274688302" sldId="859"/>
            <ac:spMk id="6" creationId="{F6AF1457-A892-BF5B-BCBA-24D10108E0A3}"/>
          </ac:spMkLst>
        </pc:spChg>
        <pc:graphicFrameChg chg="mod">
          <ac:chgData name="Hamish Stout" userId="15f0d1f2-19d0-420e-bacb-e7d8d634b31c" providerId="ADAL" clId="{8C86F349-498B-48E0-A130-1CFD8D8E3714}" dt="2023-10-30T14:35:54.293" v="794"/>
          <ac:graphicFrameMkLst>
            <pc:docMk/>
            <pc:sldMk cId="1274688302" sldId="859"/>
            <ac:graphicFrameMk id="2" creationId="{7E8B1399-C6A6-DCF4-9880-58E21FA6B8CA}"/>
          </ac:graphicFrameMkLst>
        </pc:graphicFrameChg>
        <pc:extLst>
          <p:ext xmlns:p="http://schemas.openxmlformats.org/presentationml/2006/main" uri="{D6D511B9-2390-475A-947B-AFAB55BFBCF1}">
            <pc226:cmChg xmlns:pc226="http://schemas.microsoft.com/office/powerpoint/2022/06/main/command" chg="mod">
              <pc226:chgData name="Hamish Stout" userId="15f0d1f2-19d0-420e-bacb-e7d8d634b31c" providerId="ADAL" clId="{8C86F349-498B-48E0-A130-1CFD8D8E3714}" dt="2023-10-26T19:14:16.220" v="404"/>
              <pc2:cmMkLst xmlns:pc2="http://schemas.microsoft.com/office/powerpoint/2019/9/main/command">
                <pc:docMk/>
                <pc:sldMk cId="1274688302" sldId="859"/>
                <pc2:cmMk id="{913316E9-3BAA-455C-9EF8-B8663AA95FF4}"/>
              </pc2:cmMkLst>
            </pc226:cmChg>
          </p:ext>
        </pc:extLst>
      </pc:sldChg>
      <pc:sldChg chg="modSp add del modTransition">
        <pc:chgData name="Hamish Stout" userId="15f0d1f2-19d0-420e-bacb-e7d8d634b31c" providerId="ADAL" clId="{8C86F349-498B-48E0-A130-1CFD8D8E3714}" dt="2023-10-30T14:37:29.581" v="806" actId="47"/>
        <pc:sldMkLst>
          <pc:docMk/>
          <pc:sldMk cId="2407022415" sldId="860"/>
        </pc:sldMkLst>
        <pc:graphicFrameChg chg="mod">
          <ac:chgData name="Hamish Stout" userId="15f0d1f2-19d0-420e-bacb-e7d8d634b31c" providerId="ADAL" clId="{8C86F349-498B-48E0-A130-1CFD8D8E3714}" dt="2023-10-30T13:25:45.024" v="477" actId="207"/>
          <ac:graphicFrameMkLst>
            <pc:docMk/>
            <pc:sldMk cId="2407022415" sldId="860"/>
            <ac:graphicFrameMk id="2" creationId="{7E8B1399-C6A6-DCF4-9880-58E21FA6B8CA}"/>
          </ac:graphicFrameMkLst>
        </pc:graphicFrameChg>
      </pc:sldChg>
      <pc:sldChg chg="modSp add del mod modTransition">
        <pc:chgData name="Hamish Stout" userId="15f0d1f2-19d0-420e-bacb-e7d8d634b31c" providerId="ADAL" clId="{8C86F349-498B-48E0-A130-1CFD8D8E3714}" dt="2023-10-30T14:39:29.800" v="827" actId="47"/>
        <pc:sldMkLst>
          <pc:docMk/>
          <pc:sldMk cId="3680041809" sldId="861"/>
        </pc:sldMkLst>
        <pc:spChg chg="mod">
          <ac:chgData name="Hamish Stout" userId="15f0d1f2-19d0-420e-bacb-e7d8d634b31c" providerId="ADAL" clId="{8C86F349-498B-48E0-A130-1CFD8D8E3714}" dt="2023-10-25T13:42:10.285" v="391" actId="20577"/>
          <ac:spMkLst>
            <pc:docMk/>
            <pc:sldMk cId="3680041809" sldId="861"/>
            <ac:spMk id="4" creationId="{070DC908-3191-58D8-6655-620E2932D20E}"/>
          </ac:spMkLst>
        </pc:spChg>
        <pc:spChg chg="mod">
          <ac:chgData name="Hamish Stout" userId="15f0d1f2-19d0-420e-bacb-e7d8d634b31c" providerId="ADAL" clId="{8C86F349-498B-48E0-A130-1CFD8D8E3714}" dt="2023-10-25T13:40:12.436" v="379" actId="6549"/>
          <ac:spMkLst>
            <pc:docMk/>
            <pc:sldMk cId="3680041809" sldId="861"/>
            <ac:spMk id="13" creationId="{4110CF28-94E3-7BD5-FBD7-D0D47956A33C}"/>
          </ac:spMkLst>
        </pc:spChg>
        <pc:graphicFrameChg chg="mod">
          <ac:chgData name="Hamish Stout" userId="15f0d1f2-19d0-420e-bacb-e7d8d634b31c" providerId="ADAL" clId="{8C86F349-498B-48E0-A130-1CFD8D8E3714}" dt="2023-10-25T13:42:04.336" v="389" actId="207"/>
          <ac:graphicFrameMkLst>
            <pc:docMk/>
            <pc:sldMk cId="3680041809" sldId="861"/>
            <ac:graphicFrameMk id="2" creationId="{7E8B1399-C6A6-DCF4-9880-58E21FA6B8CA}"/>
          </ac:graphicFrameMkLst>
        </pc:graphicFrameChg>
      </pc:sldChg>
      <pc:sldChg chg="modSp add del modTransition modCm">
        <pc:chgData name="Hamish Stout" userId="15f0d1f2-19d0-420e-bacb-e7d8d634b31c" providerId="ADAL" clId="{8C86F349-498B-48E0-A130-1CFD8D8E3714}" dt="2023-10-30T14:36:10.621" v="796" actId="47"/>
        <pc:sldMkLst>
          <pc:docMk/>
          <pc:sldMk cId="2087513312" sldId="862"/>
        </pc:sldMkLst>
        <pc:graphicFrameChg chg="mod">
          <ac:chgData name="Hamish Stout" userId="15f0d1f2-19d0-420e-bacb-e7d8d634b31c" providerId="ADAL" clId="{8C86F349-498B-48E0-A130-1CFD8D8E3714}" dt="2023-10-26T19:16:19.779" v="415" actId="20577"/>
          <ac:graphicFrameMkLst>
            <pc:docMk/>
            <pc:sldMk cId="2087513312" sldId="862"/>
            <ac:graphicFrameMk id="2" creationId="{7E8B1399-C6A6-DCF4-9880-58E21FA6B8CA}"/>
          </ac:graphicFrameMkLst>
        </pc:graphicFrameChg>
        <pc:extLst>
          <p:ext xmlns:p="http://schemas.openxmlformats.org/presentationml/2006/main" uri="{D6D511B9-2390-475A-947B-AFAB55BFBCF1}">
            <pc226:cmChg xmlns:pc226="http://schemas.microsoft.com/office/powerpoint/2022/06/main/command" chg="mod">
              <pc226:chgData name="Hamish Stout" userId="15f0d1f2-19d0-420e-bacb-e7d8d634b31c" providerId="ADAL" clId="{8C86F349-498B-48E0-A130-1CFD8D8E3714}" dt="2023-10-26T19:15:00.812" v="411"/>
              <pc2:cmMkLst xmlns:pc2="http://schemas.microsoft.com/office/powerpoint/2019/9/main/command">
                <pc:docMk/>
                <pc:sldMk cId="2087513312" sldId="862"/>
                <pc2:cmMk id="{9AA3153B-962A-4169-A7BE-ABA9BA73E758}"/>
              </pc2:cmMkLst>
            </pc226:cmChg>
          </p:ext>
        </pc:extLst>
      </pc:sldChg>
      <pc:sldChg chg="modSp mod">
        <pc:chgData name="Hamish Stout" userId="15f0d1f2-19d0-420e-bacb-e7d8d634b31c" providerId="ADAL" clId="{8C86F349-498B-48E0-A130-1CFD8D8E3714}" dt="2023-10-31T11:17:17.854" v="897" actId="20577"/>
        <pc:sldMkLst>
          <pc:docMk/>
          <pc:sldMk cId="1233798305" sldId="864"/>
        </pc:sldMkLst>
        <pc:spChg chg="mod">
          <ac:chgData name="Hamish Stout" userId="15f0d1f2-19d0-420e-bacb-e7d8d634b31c" providerId="ADAL" clId="{8C86F349-498B-48E0-A130-1CFD8D8E3714}" dt="2023-10-31T11:17:17.854" v="897" actId="20577"/>
          <ac:spMkLst>
            <pc:docMk/>
            <pc:sldMk cId="1233798305" sldId="864"/>
            <ac:spMk id="2" creationId="{C75C9AC6-E8D4-81F8-873B-2AD9102C63CC}"/>
          </ac:spMkLst>
        </pc:spChg>
      </pc:sldChg>
      <pc:sldChg chg="modSp add mod">
        <pc:chgData name="Hamish Stout" userId="15f0d1f2-19d0-420e-bacb-e7d8d634b31c" providerId="ADAL" clId="{8C86F349-498B-48E0-A130-1CFD8D8E3714}" dt="2023-10-30T14:37:09.940" v="804" actId="20577"/>
        <pc:sldMkLst>
          <pc:docMk/>
          <pc:sldMk cId="3539737032" sldId="865"/>
        </pc:sldMkLst>
        <pc:spChg chg="mod">
          <ac:chgData name="Hamish Stout" userId="15f0d1f2-19d0-420e-bacb-e7d8d634b31c" providerId="ADAL" clId="{8C86F349-498B-48E0-A130-1CFD8D8E3714}" dt="2023-10-30T14:37:09.940" v="804" actId="20577"/>
          <ac:spMkLst>
            <pc:docMk/>
            <pc:sldMk cId="3539737032" sldId="865"/>
            <ac:spMk id="6" creationId="{F6AF1457-A892-BF5B-BCBA-24D10108E0A3}"/>
          </ac:spMkLst>
        </pc:spChg>
        <pc:graphicFrameChg chg="mod">
          <ac:chgData name="Hamish Stout" userId="15f0d1f2-19d0-420e-bacb-e7d8d634b31c" providerId="ADAL" clId="{8C86F349-498B-48E0-A130-1CFD8D8E3714}" dt="2023-10-30T14:36:44.173" v="801" actId="207"/>
          <ac:graphicFrameMkLst>
            <pc:docMk/>
            <pc:sldMk cId="3539737032" sldId="865"/>
            <ac:graphicFrameMk id="2" creationId="{7E8B1399-C6A6-DCF4-9880-58E21FA6B8CA}"/>
          </ac:graphicFrameMkLst>
        </pc:graphicFrameChg>
      </pc:sldChg>
      <pc:sldChg chg="modSp add">
        <pc:chgData name="Hamish Stout" userId="15f0d1f2-19d0-420e-bacb-e7d8d634b31c" providerId="ADAL" clId="{8C86F349-498B-48E0-A130-1CFD8D8E3714}" dt="2023-10-30T14:38:05.528" v="816" actId="20577"/>
        <pc:sldMkLst>
          <pc:docMk/>
          <pc:sldMk cId="463151641" sldId="866"/>
        </pc:sldMkLst>
        <pc:graphicFrameChg chg="mod">
          <ac:chgData name="Hamish Stout" userId="15f0d1f2-19d0-420e-bacb-e7d8d634b31c" providerId="ADAL" clId="{8C86F349-498B-48E0-A130-1CFD8D8E3714}" dt="2023-10-30T14:38:05.528" v="816" actId="20577"/>
          <ac:graphicFrameMkLst>
            <pc:docMk/>
            <pc:sldMk cId="463151641" sldId="866"/>
            <ac:graphicFrameMk id="2" creationId="{7E8B1399-C6A6-DCF4-9880-58E21FA6B8CA}"/>
          </ac:graphicFrameMkLst>
        </pc:graphicFrameChg>
      </pc:sldChg>
      <pc:sldChg chg="modSp add mod">
        <pc:chgData name="Hamish Stout" userId="15f0d1f2-19d0-420e-bacb-e7d8d634b31c" providerId="ADAL" clId="{8C86F349-498B-48E0-A130-1CFD8D8E3714}" dt="2023-10-30T14:39:05.795" v="826" actId="207"/>
        <pc:sldMkLst>
          <pc:docMk/>
          <pc:sldMk cId="6177442" sldId="867"/>
        </pc:sldMkLst>
        <pc:spChg chg="mod">
          <ac:chgData name="Hamish Stout" userId="15f0d1f2-19d0-420e-bacb-e7d8d634b31c" providerId="ADAL" clId="{8C86F349-498B-48E0-A130-1CFD8D8E3714}" dt="2023-10-30T14:38:50.406" v="824" actId="207"/>
          <ac:spMkLst>
            <pc:docMk/>
            <pc:sldMk cId="6177442" sldId="867"/>
            <ac:spMk id="13" creationId="{4110CF28-94E3-7BD5-FBD7-D0D47956A33C}"/>
          </ac:spMkLst>
        </pc:spChg>
        <pc:graphicFrameChg chg="mod">
          <ac:chgData name="Hamish Stout" userId="15f0d1f2-19d0-420e-bacb-e7d8d634b31c" providerId="ADAL" clId="{8C86F349-498B-48E0-A130-1CFD8D8E3714}" dt="2023-10-30T14:39:05.795" v="826" actId="207"/>
          <ac:graphicFrameMkLst>
            <pc:docMk/>
            <pc:sldMk cId="6177442" sldId="867"/>
            <ac:graphicFrameMk id="2" creationId="{7E8B1399-C6A6-DCF4-9880-58E21FA6B8CA}"/>
          </ac:graphicFrameMkLst>
        </pc:graphicFrameChg>
      </pc:sldChg>
    </pc:docChg>
  </pc:docChgLst>
  <pc:docChgLst>
    <pc:chgData name="Lara Burns" userId="S::lara.burns@scouts.org.uk::3ecee4ae-a55c-4804-ac20-4479182acad9" providerId="AD" clId="Web-{9EF511B0-4ADD-2850-80DA-BCF1543A6F80}"/>
    <pc:docChg chg="modSld sldOrd">
      <pc:chgData name="Lara Burns" userId="S::lara.burns@scouts.org.uk::3ecee4ae-a55c-4804-ac20-4479182acad9" providerId="AD" clId="Web-{9EF511B0-4ADD-2850-80DA-BCF1543A6F80}" dt="2023-10-26T15:55:50.708" v="4"/>
      <pc:docMkLst>
        <pc:docMk/>
      </pc:docMkLst>
      <pc:sldChg chg="ord">
        <pc:chgData name="Lara Burns" userId="S::lara.burns@scouts.org.uk::3ecee4ae-a55c-4804-ac20-4479182acad9" providerId="AD" clId="Web-{9EF511B0-4ADD-2850-80DA-BCF1543A6F80}" dt="2023-10-26T15:55:50.708" v="4"/>
        <pc:sldMkLst>
          <pc:docMk/>
          <pc:sldMk cId="258766891" sldId="806"/>
        </pc:sldMkLst>
      </pc:sldChg>
      <pc:sldChg chg="modSp">
        <pc:chgData name="Lara Burns" userId="S::lara.burns@scouts.org.uk::3ecee4ae-a55c-4804-ac20-4479182acad9" providerId="AD" clId="Web-{9EF511B0-4ADD-2850-80DA-BCF1543A6F80}" dt="2023-10-26T15:55:47.036" v="3" actId="20577"/>
        <pc:sldMkLst>
          <pc:docMk/>
          <pc:sldMk cId="469026881" sldId="849"/>
        </pc:sldMkLst>
        <pc:spChg chg="mod">
          <ac:chgData name="Lara Burns" userId="S::lara.burns@scouts.org.uk::3ecee4ae-a55c-4804-ac20-4479182acad9" providerId="AD" clId="Web-{9EF511B0-4ADD-2850-80DA-BCF1543A6F80}" dt="2023-10-26T15:55:47.036" v="3" actId="20577"/>
          <ac:spMkLst>
            <pc:docMk/>
            <pc:sldMk cId="469026881" sldId="849"/>
            <ac:spMk id="5" creationId="{52EBD7CB-CAB0-238B-96A4-71E2BBF45749}"/>
          </ac:spMkLst>
        </pc:spChg>
      </pc:sldChg>
      <pc:sldChg chg="ord">
        <pc:chgData name="Lara Burns" userId="S::lara.burns@scouts.org.uk::3ecee4ae-a55c-4804-ac20-4479182acad9" providerId="AD" clId="Web-{9EF511B0-4ADD-2850-80DA-BCF1543A6F80}" dt="2023-10-26T15:53:52.828" v="0"/>
        <pc:sldMkLst>
          <pc:docMk/>
          <pc:sldMk cId="4091634358" sldId="858"/>
        </pc:sldMkLst>
      </pc:sldChg>
    </pc:docChg>
  </pc:docChgLst>
  <pc:docChgLst>
    <pc:chgData name="Robert Groves" userId="18340ee5-2ee2-4523-a1bd-00715d104e64" providerId="ADAL" clId="{231B19FB-13C4-40F9-BA23-1964A90913D0}"/>
    <pc:docChg chg="undo redo custSel addSld delSld modSld sldOrd delMainMaster">
      <pc:chgData name="Robert Groves" userId="18340ee5-2ee2-4523-a1bd-00715d104e64" providerId="ADAL" clId="{231B19FB-13C4-40F9-BA23-1964A90913D0}" dt="2023-11-01T09:22:24.305" v="11723" actId="6549"/>
      <pc:docMkLst>
        <pc:docMk/>
      </pc:docMkLst>
      <pc:sldChg chg="del">
        <pc:chgData name="Robert Groves" userId="18340ee5-2ee2-4523-a1bd-00715d104e64" providerId="ADAL" clId="{231B19FB-13C4-40F9-BA23-1964A90913D0}" dt="2023-10-21T17:02:30.926" v="2241" actId="47"/>
        <pc:sldMkLst>
          <pc:docMk/>
          <pc:sldMk cId="783795130" sldId="257"/>
        </pc:sldMkLst>
      </pc:sldChg>
      <pc:sldChg chg="add del">
        <pc:chgData name="Robert Groves" userId="18340ee5-2ee2-4523-a1bd-00715d104e64" providerId="ADAL" clId="{231B19FB-13C4-40F9-BA23-1964A90913D0}" dt="2023-10-23T14:11:15.368" v="6843" actId="47"/>
        <pc:sldMkLst>
          <pc:docMk/>
          <pc:sldMk cId="3729790567" sldId="326"/>
        </pc:sldMkLst>
      </pc:sldChg>
      <pc:sldChg chg="del">
        <pc:chgData name="Robert Groves" userId="18340ee5-2ee2-4523-a1bd-00715d104e64" providerId="ADAL" clId="{231B19FB-13C4-40F9-BA23-1964A90913D0}" dt="2023-10-21T13:17:15.594" v="1" actId="47"/>
        <pc:sldMkLst>
          <pc:docMk/>
          <pc:sldMk cId="4193180239" sldId="326"/>
        </pc:sldMkLst>
      </pc:sldChg>
      <pc:sldChg chg="del">
        <pc:chgData name="Robert Groves" userId="18340ee5-2ee2-4523-a1bd-00715d104e64" providerId="ADAL" clId="{231B19FB-13C4-40F9-BA23-1964A90913D0}" dt="2023-10-21T17:02:31.617" v="2242" actId="47"/>
        <pc:sldMkLst>
          <pc:docMk/>
          <pc:sldMk cId="3520859599" sldId="329"/>
        </pc:sldMkLst>
      </pc:sldChg>
      <pc:sldChg chg="modSp mod modCm">
        <pc:chgData name="Robert Groves" userId="18340ee5-2ee2-4523-a1bd-00715d104e64" providerId="ADAL" clId="{231B19FB-13C4-40F9-BA23-1964A90913D0}" dt="2023-10-31T15:27:35.322" v="11696" actId="20577"/>
        <pc:sldMkLst>
          <pc:docMk/>
          <pc:sldMk cId="619815647" sldId="330"/>
        </pc:sldMkLst>
        <pc:spChg chg="mod">
          <ac:chgData name="Robert Groves" userId="18340ee5-2ee2-4523-a1bd-00715d104e64" providerId="ADAL" clId="{231B19FB-13C4-40F9-BA23-1964A90913D0}" dt="2023-10-31T15:27:35.322" v="11696" actId="20577"/>
          <ac:spMkLst>
            <pc:docMk/>
            <pc:sldMk cId="619815647" sldId="330"/>
            <ac:spMk id="2" creationId="{17EF3307-79D3-F146-FFE9-B8D4BBDB1EDE}"/>
          </ac:spMkLst>
        </pc:spChg>
        <pc:spChg chg="mod">
          <ac:chgData name="Robert Groves" userId="18340ee5-2ee2-4523-a1bd-00715d104e64" providerId="ADAL" clId="{231B19FB-13C4-40F9-BA23-1964A90913D0}" dt="2023-10-30T16:37:27.154" v="11676" actId="1076"/>
          <ac:spMkLst>
            <pc:docMk/>
            <pc:sldMk cId="619815647" sldId="330"/>
            <ac:spMk id="5" creationId="{B73DD310-DB68-14A5-DBE5-92BC40AFF9F0}"/>
          </ac:spMkLst>
        </pc:spChg>
        <pc:extLst>
          <p:ext xmlns:p="http://schemas.openxmlformats.org/presentationml/2006/main" uri="{D6D511B9-2390-475A-947B-AFAB55BFBCF1}">
            <pc226:cmChg xmlns:pc226="http://schemas.microsoft.com/office/powerpoint/2022/06/main/command" chg="mod">
              <pc226:chgData name="Robert Groves" userId="18340ee5-2ee2-4523-a1bd-00715d104e64" providerId="ADAL" clId="{231B19FB-13C4-40F9-BA23-1964A90913D0}" dt="2023-10-31T15:27:35.322" v="11696" actId="20577"/>
              <pc2:cmMkLst xmlns:pc2="http://schemas.microsoft.com/office/powerpoint/2019/9/main/command">
                <pc:docMk/>
                <pc:sldMk cId="619815647" sldId="330"/>
                <pc2:cmMk id="{36529484-C383-405E-90B9-790DF0DAC405}"/>
              </pc2:cmMkLst>
              <pc226:cmRplyChg chg="add">
                <pc226:chgData name="Robert Groves" userId="18340ee5-2ee2-4523-a1bd-00715d104e64" providerId="ADAL" clId="{231B19FB-13C4-40F9-BA23-1964A90913D0}" dt="2023-10-25T10:39:04.456" v="11382"/>
                <pc2:cmRplyMkLst xmlns:pc2="http://schemas.microsoft.com/office/powerpoint/2019/9/main/command">
                  <pc:docMk/>
                  <pc:sldMk cId="619815647" sldId="330"/>
                  <pc2:cmMk id="{36529484-C383-405E-90B9-790DF0DAC405}"/>
                  <pc2:cmRplyMk id="{C943434F-F209-4C74-A7F9-3D24A2A17CF2}"/>
                </pc2:cmRplyMkLst>
              </pc226:cmRplyChg>
              <pc226:cmRplyChg chg="add">
                <pc226:chgData name="Robert Groves" userId="18340ee5-2ee2-4523-a1bd-00715d104e64" providerId="ADAL" clId="{231B19FB-13C4-40F9-BA23-1964A90913D0}" dt="2023-10-25T10:38:42.671" v="11381"/>
                <pc2:cmRplyMkLst xmlns:pc2="http://schemas.microsoft.com/office/powerpoint/2019/9/main/command">
                  <pc:docMk/>
                  <pc:sldMk cId="619815647" sldId="330"/>
                  <pc2:cmMk id="{36529484-C383-405E-90B9-790DF0DAC405}"/>
                  <pc2:cmRplyMk id="{178836B9-7860-4296-B89C-038CE304FDF9}"/>
                </pc2:cmRplyMkLst>
              </pc226:cmRplyChg>
              <pc226:cmRplyChg chg="add">
                <pc226:chgData name="Robert Groves" userId="18340ee5-2ee2-4523-a1bd-00715d104e64" providerId="ADAL" clId="{231B19FB-13C4-40F9-BA23-1964A90913D0}" dt="2023-10-25T10:49:30.892" v="11383"/>
                <pc2:cmRplyMkLst xmlns:pc2="http://schemas.microsoft.com/office/powerpoint/2019/9/main/command">
                  <pc:docMk/>
                  <pc:sldMk cId="619815647" sldId="330"/>
                  <pc2:cmMk id="{36529484-C383-405E-90B9-790DF0DAC405}"/>
                  <pc2:cmRplyMk id="{6E4BDBD8-903A-4002-8D10-13D388B85DB6}"/>
                </pc2:cmRplyMkLst>
              </pc226:cmRplyChg>
            </pc226:cmChg>
          </p:ext>
        </pc:extLst>
      </pc:sldChg>
      <pc:sldChg chg="addSp delSp modSp mod ord delAnim">
        <pc:chgData name="Robert Groves" userId="18340ee5-2ee2-4523-a1bd-00715d104e64" providerId="ADAL" clId="{231B19FB-13C4-40F9-BA23-1964A90913D0}" dt="2023-10-24T13:52:17.703" v="10738" actId="196"/>
        <pc:sldMkLst>
          <pc:docMk/>
          <pc:sldMk cId="2811152509" sldId="665"/>
        </pc:sldMkLst>
        <pc:spChg chg="mod">
          <ac:chgData name="Robert Groves" userId="18340ee5-2ee2-4523-a1bd-00715d104e64" providerId="ADAL" clId="{231B19FB-13C4-40F9-BA23-1964A90913D0}" dt="2023-10-24T12:34:19.091" v="10073" actId="20577"/>
          <ac:spMkLst>
            <pc:docMk/>
            <pc:sldMk cId="2811152509" sldId="665"/>
            <ac:spMk id="9" creationId="{24FD1763-E64D-4529-0D89-4F515C46659E}"/>
          </ac:spMkLst>
        </pc:spChg>
        <pc:spChg chg="mod">
          <ac:chgData name="Robert Groves" userId="18340ee5-2ee2-4523-a1bd-00715d104e64" providerId="ADAL" clId="{231B19FB-13C4-40F9-BA23-1964A90913D0}" dt="2023-10-24T12:37:33.610" v="10157" actId="20577"/>
          <ac:spMkLst>
            <pc:docMk/>
            <pc:sldMk cId="2811152509" sldId="665"/>
            <ac:spMk id="15" creationId="{3FE31CB4-5423-A997-8C1B-AFA706E3D856}"/>
          </ac:spMkLst>
        </pc:spChg>
        <pc:graphicFrameChg chg="del">
          <ac:chgData name="Robert Groves" userId="18340ee5-2ee2-4523-a1bd-00715d104e64" providerId="ADAL" clId="{231B19FB-13C4-40F9-BA23-1964A90913D0}" dt="2023-10-21T18:08:41.434" v="3712" actId="478"/>
          <ac:graphicFrameMkLst>
            <pc:docMk/>
            <pc:sldMk cId="2811152509" sldId="665"/>
            <ac:graphicFrameMk id="14" creationId="{6D9254E6-5544-A6CE-D73C-5AFD629D307E}"/>
          </ac:graphicFrameMkLst>
        </pc:graphicFrameChg>
        <pc:picChg chg="add mod">
          <ac:chgData name="Robert Groves" userId="18340ee5-2ee2-4523-a1bd-00715d104e64" providerId="ADAL" clId="{231B19FB-13C4-40F9-BA23-1964A90913D0}" dt="2023-10-24T13:52:17.703" v="10738" actId="196"/>
          <ac:picMkLst>
            <pc:docMk/>
            <pc:sldMk cId="2811152509" sldId="665"/>
            <ac:picMk id="2" creationId="{0BB295B8-E92A-A93A-50F4-435D4FBF3AF1}"/>
          </ac:picMkLst>
        </pc:picChg>
      </pc:sldChg>
      <pc:sldChg chg="addSp delSp modSp mod">
        <pc:chgData name="Robert Groves" userId="18340ee5-2ee2-4523-a1bd-00715d104e64" providerId="ADAL" clId="{231B19FB-13C4-40F9-BA23-1964A90913D0}" dt="2023-10-21T19:18:45.942" v="5352" actId="20577"/>
        <pc:sldMkLst>
          <pc:docMk/>
          <pc:sldMk cId="4167905585" sldId="668"/>
        </pc:sldMkLst>
        <pc:spChg chg="add mod">
          <ac:chgData name="Robert Groves" userId="18340ee5-2ee2-4523-a1bd-00715d104e64" providerId="ADAL" clId="{231B19FB-13C4-40F9-BA23-1964A90913D0}" dt="2023-10-21T19:18:45.942" v="5352" actId="20577"/>
          <ac:spMkLst>
            <pc:docMk/>
            <pc:sldMk cId="4167905585" sldId="668"/>
            <ac:spMk id="2" creationId="{C75C9AC6-E8D4-81F8-873B-2AD9102C63CC}"/>
          </ac:spMkLst>
        </pc:spChg>
        <pc:spChg chg="del mod">
          <ac:chgData name="Robert Groves" userId="18340ee5-2ee2-4523-a1bd-00715d104e64" providerId="ADAL" clId="{231B19FB-13C4-40F9-BA23-1964A90913D0}" dt="2023-10-21T18:36:48.215" v="4757" actId="478"/>
          <ac:spMkLst>
            <pc:docMk/>
            <pc:sldMk cId="4167905585" sldId="668"/>
            <ac:spMk id="7" creationId="{3C9DE663-611C-3EFB-5D3F-B79AEF7E5480}"/>
          </ac:spMkLst>
        </pc:spChg>
        <pc:spChg chg="mod">
          <ac:chgData name="Robert Groves" userId="18340ee5-2ee2-4523-a1bd-00715d104e64" providerId="ADAL" clId="{231B19FB-13C4-40F9-BA23-1964A90913D0}" dt="2023-10-21T19:12:19.339" v="4759" actId="6549"/>
          <ac:spMkLst>
            <pc:docMk/>
            <pc:sldMk cId="4167905585" sldId="668"/>
            <ac:spMk id="9" creationId="{24FD1763-E64D-4529-0D89-4F515C46659E}"/>
          </ac:spMkLst>
        </pc:spChg>
      </pc:sldChg>
      <pc:sldChg chg="modSp mod">
        <pc:chgData name="Robert Groves" userId="18340ee5-2ee2-4523-a1bd-00715d104e64" providerId="ADAL" clId="{231B19FB-13C4-40F9-BA23-1964A90913D0}" dt="2023-10-27T14:11:59.293" v="11453" actId="20577"/>
        <pc:sldMkLst>
          <pc:docMk/>
          <pc:sldMk cId="995131127" sldId="708"/>
        </pc:sldMkLst>
        <pc:spChg chg="mod">
          <ac:chgData name="Robert Groves" userId="18340ee5-2ee2-4523-a1bd-00715d104e64" providerId="ADAL" clId="{231B19FB-13C4-40F9-BA23-1964A90913D0}" dt="2023-10-24T11:33:19.432" v="8477" actId="1076"/>
          <ac:spMkLst>
            <pc:docMk/>
            <pc:sldMk cId="995131127" sldId="708"/>
            <ac:spMk id="3" creationId="{C442F3DC-9009-C8F9-A8ED-6C3994E56C41}"/>
          </ac:spMkLst>
        </pc:spChg>
        <pc:spChg chg="mod">
          <ac:chgData name="Robert Groves" userId="18340ee5-2ee2-4523-a1bd-00715d104e64" providerId="ADAL" clId="{231B19FB-13C4-40F9-BA23-1964A90913D0}" dt="2023-10-27T14:11:59.293" v="11453" actId="20577"/>
          <ac:spMkLst>
            <pc:docMk/>
            <pc:sldMk cId="995131127" sldId="708"/>
            <ac:spMk id="5" creationId="{00000000-0000-0000-0000-000000000000}"/>
          </ac:spMkLst>
        </pc:spChg>
      </pc:sldChg>
      <pc:sldChg chg="del">
        <pc:chgData name="Robert Groves" userId="18340ee5-2ee2-4523-a1bd-00715d104e64" providerId="ADAL" clId="{231B19FB-13C4-40F9-BA23-1964A90913D0}" dt="2023-10-23T14:09:41.118" v="6833" actId="47"/>
        <pc:sldMkLst>
          <pc:docMk/>
          <pc:sldMk cId="4099004615" sldId="715"/>
        </pc:sldMkLst>
      </pc:sldChg>
      <pc:sldChg chg="modSp mod">
        <pc:chgData name="Robert Groves" userId="18340ee5-2ee2-4523-a1bd-00715d104e64" providerId="ADAL" clId="{231B19FB-13C4-40F9-BA23-1964A90913D0}" dt="2023-10-24T13:57:59.284" v="11188" actId="1076"/>
        <pc:sldMkLst>
          <pc:docMk/>
          <pc:sldMk cId="481424242" sldId="718"/>
        </pc:sldMkLst>
        <pc:spChg chg="mod">
          <ac:chgData name="Robert Groves" userId="18340ee5-2ee2-4523-a1bd-00715d104e64" providerId="ADAL" clId="{231B19FB-13C4-40F9-BA23-1964A90913D0}" dt="2023-10-24T13:56:00.431" v="11182" actId="14100"/>
          <ac:spMkLst>
            <pc:docMk/>
            <pc:sldMk cId="481424242" sldId="718"/>
            <ac:spMk id="4" creationId="{070DC908-3191-58D8-6655-620E2932D20E}"/>
          </ac:spMkLst>
        </pc:spChg>
        <pc:spChg chg="mod">
          <ac:chgData name="Robert Groves" userId="18340ee5-2ee2-4523-a1bd-00715d104e64" providerId="ADAL" clId="{231B19FB-13C4-40F9-BA23-1964A90913D0}" dt="2023-10-24T13:57:59.284" v="11188" actId="1076"/>
          <ac:spMkLst>
            <pc:docMk/>
            <pc:sldMk cId="481424242" sldId="718"/>
            <ac:spMk id="5" creationId="{95437EAD-B146-FDEF-5298-B2D3A005AC69}"/>
          </ac:spMkLst>
        </pc:spChg>
        <pc:picChg chg="mod modCrop">
          <ac:chgData name="Robert Groves" userId="18340ee5-2ee2-4523-a1bd-00715d104e64" providerId="ADAL" clId="{231B19FB-13C4-40F9-BA23-1964A90913D0}" dt="2023-10-24T13:55:48.350" v="11181" actId="732"/>
          <ac:picMkLst>
            <pc:docMk/>
            <pc:sldMk cId="481424242" sldId="718"/>
            <ac:picMk id="3" creationId="{00000000-0000-0000-0000-000000000000}"/>
          </ac:picMkLst>
        </pc:picChg>
      </pc:sldChg>
      <pc:sldChg chg="modSp del mod">
        <pc:chgData name="Robert Groves" userId="18340ee5-2ee2-4523-a1bd-00715d104e64" providerId="ADAL" clId="{231B19FB-13C4-40F9-BA23-1964A90913D0}" dt="2023-10-23T14:09:40.371" v="6832" actId="47"/>
        <pc:sldMkLst>
          <pc:docMk/>
          <pc:sldMk cId="1572653053" sldId="726"/>
        </pc:sldMkLst>
        <pc:spChg chg="mod">
          <ac:chgData name="Robert Groves" userId="18340ee5-2ee2-4523-a1bd-00715d104e64" providerId="ADAL" clId="{231B19FB-13C4-40F9-BA23-1964A90913D0}" dt="2023-10-21T21:22:08.246" v="6390" actId="1076"/>
          <ac:spMkLst>
            <pc:docMk/>
            <pc:sldMk cId="1572653053" sldId="726"/>
            <ac:spMk id="5" creationId="{859ED00A-3115-9090-F900-78E12414C13F}"/>
          </ac:spMkLst>
        </pc:spChg>
      </pc:sldChg>
      <pc:sldChg chg="modSp mod">
        <pc:chgData name="Robert Groves" userId="18340ee5-2ee2-4523-a1bd-00715d104e64" providerId="ADAL" clId="{231B19FB-13C4-40F9-BA23-1964A90913D0}" dt="2023-10-24T14:08:16.903" v="11229" actId="20577"/>
        <pc:sldMkLst>
          <pc:docMk/>
          <pc:sldMk cId="795480516" sldId="733"/>
        </pc:sldMkLst>
        <pc:spChg chg="mod">
          <ac:chgData name="Robert Groves" userId="18340ee5-2ee2-4523-a1bd-00715d104e64" providerId="ADAL" clId="{231B19FB-13C4-40F9-BA23-1964A90913D0}" dt="2023-10-24T14:08:16.903" v="11229" actId="20577"/>
          <ac:spMkLst>
            <pc:docMk/>
            <pc:sldMk cId="795480516" sldId="733"/>
            <ac:spMk id="7" creationId="{4DA679D9-28C7-A1B3-F5D5-A9FD12A0CF16}"/>
          </ac:spMkLst>
        </pc:spChg>
        <pc:spChg chg="mod">
          <ac:chgData name="Robert Groves" userId="18340ee5-2ee2-4523-a1bd-00715d104e64" providerId="ADAL" clId="{231B19FB-13C4-40F9-BA23-1964A90913D0}" dt="2023-10-21T13:37:30.757" v="164" actId="1076"/>
          <ac:spMkLst>
            <pc:docMk/>
            <pc:sldMk cId="795480516" sldId="733"/>
            <ac:spMk id="8" creationId="{EB01AC4D-5059-D568-699E-D21D3E8BC53A}"/>
          </ac:spMkLst>
        </pc:spChg>
      </pc:sldChg>
      <pc:sldChg chg="modSp mod">
        <pc:chgData name="Robert Groves" userId="18340ee5-2ee2-4523-a1bd-00715d104e64" providerId="ADAL" clId="{231B19FB-13C4-40F9-BA23-1964A90913D0}" dt="2023-10-24T14:08:03.421" v="11204" actId="20577"/>
        <pc:sldMkLst>
          <pc:docMk/>
          <pc:sldMk cId="1802223923" sldId="754"/>
        </pc:sldMkLst>
        <pc:spChg chg="mod">
          <ac:chgData name="Robert Groves" userId="18340ee5-2ee2-4523-a1bd-00715d104e64" providerId="ADAL" clId="{231B19FB-13C4-40F9-BA23-1964A90913D0}" dt="2023-10-24T14:08:03.421" v="11204" actId="20577"/>
          <ac:spMkLst>
            <pc:docMk/>
            <pc:sldMk cId="1802223923" sldId="754"/>
            <ac:spMk id="7" creationId="{F0E78806-A03B-0FBE-97E3-82CBD067D0C8}"/>
          </ac:spMkLst>
        </pc:spChg>
      </pc:sldChg>
      <pc:sldChg chg="modSp mod">
        <pc:chgData name="Robert Groves" userId="18340ee5-2ee2-4523-a1bd-00715d104e64" providerId="ADAL" clId="{231B19FB-13C4-40F9-BA23-1964A90913D0}" dt="2023-11-01T09:22:24.305" v="11723" actId="6549"/>
        <pc:sldMkLst>
          <pc:docMk/>
          <pc:sldMk cId="2938138711" sldId="776"/>
        </pc:sldMkLst>
        <pc:spChg chg="mod">
          <ac:chgData name="Robert Groves" userId="18340ee5-2ee2-4523-a1bd-00715d104e64" providerId="ADAL" clId="{231B19FB-13C4-40F9-BA23-1964A90913D0}" dt="2023-10-24T12:42:15.720" v="10183" actId="1076"/>
          <ac:spMkLst>
            <pc:docMk/>
            <pc:sldMk cId="2938138711" sldId="776"/>
            <ac:spMk id="4" creationId="{070DC908-3191-58D8-6655-620E2932D20E}"/>
          </ac:spMkLst>
        </pc:spChg>
        <pc:spChg chg="mod">
          <ac:chgData name="Robert Groves" userId="18340ee5-2ee2-4523-a1bd-00715d104e64" providerId="ADAL" clId="{231B19FB-13C4-40F9-BA23-1964A90913D0}" dt="2023-11-01T09:22:24.305" v="11723" actId="6549"/>
          <ac:spMkLst>
            <pc:docMk/>
            <pc:sldMk cId="2938138711" sldId="776"/>
            <ac:spMk id="5" creationId="{79811624-8CD6-8AB6-410D-94581A44335A}"/>
          </ac:spMkLst>
        </pc:spChg>
      </pc:sldChg>
      <pc:sldChg chg="modSp mod">
        <pc:chgData name="Robert Groves" userId="18340ee5-2ee2-4523-a1bd-00715d104e64" providerId="ADAL" clId="{231B19FB-13C4-40F9-BA23-1964A90913D0}" dt="2023-10-21T13:37:42.375" v="179" actId="20577"/>
        <pc:sldMkLst>
          <pc:docMk/>
          <pc:sldMk cId="488881777" sldId="785"/>
        </pc:sldMkLst>
        <pc:spChg chg="mod">
          <ac:chgData name="Robert Groves" userId="18340ee5-2ee2-4523-a1bd-00715d104e64" providerId="ADAL" clId="{231B19FB-13C4-40F9-BA23-1964A90913D0}" dt="2023-10-21T13:37:42.375" v="179" actId="20577"/>
          <ac:spMkLst>
            <pc:docMk/>
            <pc:sldMk cId="488881777" sldId="785"/>
            <ac:spMk id="7" creationId="{F0E78806-A03B-0FBE-97E3-82CBD067D0C8}"/>
          </ac:spMkLst>
        </pc:spChg>
      </pc:sldChg>
      <pc:sldChg chg="del">
        <pc:chgData name="Robert Groves" userId="18340ee5-2ee2-4523-a1bd-00715d104e64" providerId="ADAL" clId="{231B19FB-13C4-40F9-BA23-1964A90913D0}" dt="2023-10-21T20:06:29.852" v="5675" actId="47"/>
        <pc:sldMkLst>
          <pc:docMk/>
          <pc:sldMk cId="135663484" sldId="794"/>
        </pc:sldMkLst>
      </pc:sldChg>
      <pc:sldChg chg="addSp delSp modSp add mod ord">
        <pc:chgData name="Robert Groves" userId="18340ee5-2ee2-4523-a1bd-00715d104e64" providerId="ADAL" clId="{231B19FB-13C4-40F9-BA23-1964A90913D0}" dt="2023-10-27T09:47:38.805" v="11388"/>
        <pc:sldMkLst>
          <pc:docMk/>
          <pc:sldMk cId="258766891" sldId="806"/>
        </pc:sldMkLst>
        <pc:spChg chg="add mod">
          <ac:chgData name="Robert Groves" userId="18340ee5-2ee2-4523-a1bd-00715d104e64" providerId="ADAL" clId="{231B19FB-13C4-40F9-BA23-1964A90913D0}" dt="2023-10-23T15:44:34.738" v="7799" actId="113"/>
          <ac:spMkLst>
            <pc:docMk/>
            <pc:sldMk cId="258766891" sldId="806"/>
            <ac:spMk id="2" creationId="{522EEE5A-03CB-9A33-623D-6B7257D58158}"/>
          </ac:spMkLst>
        </pc:spChg>
        <pc:spChg chg="del">
          <ac:chgData name="Robert Groves" userId="18340ee5-2ee2-4523-a1bd-00715d104e64" providerId="ADAL" clId="{231B19FB-13C4-40F9-BA23-1964A90913D0}" dt="2023-10-21T18:01:44.107" v="3466" actId="478"/>
          <ac:spMkLst>
            <pc:docMk/>
            <pc:sldMk cId="258766891" sldId="806"/>
            <ac:spMk id="4" creationId="{DF20E3B6-5A42-BD0C-97FF-9F4101A8AFCC}"/>
          </ac:spMkLst>
        </pc:spChg>
        <pc:spChg chg="mod">
          <ac:chgData name="Robert Groves" userId="18340ee5-2ee2-4523-a1bd-00715d104e64" providerId="ADAL" clId="{231B19FB-13C4-40F9-BA23-1964A90913D0}" dt="2023-10-21T18:02:14.620" v="3489" actId="1076"/>
          <ac:spMkLst>
            <pc:docMk/>
            <pc:sldMk cId="258766891" sldId="806"/>
            <ac:spMk id="5" creationId="{52EBD7CB-CAB0-238B-96A4-71E2BBF45749}"/>
          </ac:spMkLst>
        </pc:spChg>
        <pc:picChg chg="del mod">
          <ac:chgData name="Robert Groves" userId="18340ee5-2ee2-4523-a1bd-00715d104e64" providerId="ADAL" clId="{231B19FB-13C4-40F9-BA23-1964A90913D0}" dt="2023-10-24T13:53:02.074" v="10741" actId="478"/>
          <ac:picMkLst>
            <pc:docMk/>
            <pc:sldMk cId="258766891" sldId="806"/>
            <ac:picMk id="3" creationId="{FDD3283C-5ADF-03D4-F754-D6BCC138BC1E}"/>
          </ac:picMkLst>
        </pc:picChg>
        <pc:picChg chg="add mod modCrop">
          <ac:chgData name="Robert Groves" userId="18340ee5-2ee2-4523-a1bd-00715d104e64" providerId="ADAL" clId="{231B19FB-13C4-40F9-BA23-1964A90913D0}" dt="2023-10-24T13:53:41.596" v="10746" actId="18131"/>
          <ac:picMkLst>
            <pc:docMk/>
            <pc:sldMk cId="258766891" sldId="806"/>
            <ac:picMk id="4" creationId="{56900218-B80C-5C05-8D5E-5DA81341F776}"/>
          </ac:picMkLst>
        </pc:picChg>
      </pc:sldChg>
      <pc:sldChg chg="add">
        <pc:chgData name="Robert Groves" userId="18340ee5-2ee2-4523-a1bd-00715d104e64" providerId="ADAL" clId="{231B19FB-13C4-40F9-BA23-1964A90913D0}" dt="2023-10-21T19:18:56.409" v="5353"/>
        <pc:sldMkLst>
          <pc:docMk/>
          <pc:sldMk cId="1799620107" sldId="808"/>
        </pc:sldMkLst>
      </pc:sldChg>
      <pc:sldChg chg="add del">
        <pc:chgData name="Robert Groves" userId="18340ee5-2ee2-4523-a1bd-00715d104e64" providerId="ADAL" clId="{231B19FB-13C4-40F9-BA23-1964A90913D0}" dt="2023-10-21T17:02:29.196" v="2239" actId="47"/>
        <pc:sldMkLst>
          <pc:docMk/>
          <pc:sldMk cId="2225146367" sldId="812"/>
        </pc:sldMkLst>
      </pc:sldChg>
      <pc:sldChg chg="add del">
        <pc:chgData name="Robert Groves" userId="18340ee5-2ee2-4523-a1bd-00715d104e64" providerId="ADAL" clId="{231B19FB-13C4-40F9-BA23-1964A90913D0}" dt="2023-10-21T17:02:29.893" v="2240" actId="47"/>
        <pc:sldMkLst>
          <pc:docMk/>
          <pc:sldMk cId="925185229" sldId="813"/>
        </pc:sldMkLst>
      </pc:sldChg>
      <pc:sldChg chg="addSp delSp modSp mod">
        <pc:chgData name="Robert Groves" userId="18340ee5-2ee2-4523-a1bd-00715d104e64" providerId="ADAL" clId="{231B19FB-13C4-40F9-BA23-1964A90913D0}" dt="2023-10-24T13:51:43.361" v="10735" actId="1076"/>
        <pc:sldMkLst>
          <pc:docMk/>
          <pc:sldMk cId="626761566" sldId="814"/>
        </pc:sldMkLst>
        <pc:spChg chg="add mod">
          <ac:chgData name="Robert Groves" userId="18340ee5-2ee2-4523-a1bd-00715d104e64" providerId="ADAL" clId="{231B19FB-13C4-40F9-BA23-1964A90913D0}" dt="2023-10-24T12:29:20.430" v="10012" actId="20577"/>
          <ac:spMkLst>
            <pc:docMk/>
            <pc:sldMk cId="626761566" sldId="814"/>
            <ac:spMk id="3" creationId="{2A3D6380-AD62-9533-2C66-E0666E223068}"/>
          </ac:spMkLst>
        </pc:spChg>
        <pc:spChg chg="mod">
          <ac:chgData name="Robert Groves" userId="18340ee5-2ee2-4523-a1bd-00715d104e64" providerId="ADAL" clId="{231B19FB-13C4-40F9-BA23-1964A90913D0}" dt="2023-10-21T17:04:52.436" v="2271" actId="20577"/>
          <ac:spMkLst>
            <pc:docMk/>
            <pc:sldMk cId="626761566" sldId="814"/>
            <ac:spMk id="5" creationId="{52EBD7CB-CAB0-238B-96A4-71E2BBF45749}"/>
          </ac:spMkLst>
        </pc:spChg>
        <pc:spChg chg="del">
          <ac:chgData name="Robert Groves" userId="18340ee5-2ee2-4523-a1bd-00715d104e64" providerId="ADAL" clId="{231B19FB-13C4-40F9-BA23-1964A90913D0}" dt="2023-10-21T17:02:15.283" v="2234" actId="478"/>
          <ac:spMkLst>
            <pc:docMk/>
            <pc:sldMk cId="626761566" sldId="814"/>
            <ac:spMk id="6" creationId="{3C87C273-51ED-12B6-BDD7-7A28E31A4BF8}"/>
          </ac:spMkLst>
        </pc:spChg>
        <pc:picChg chg="del">
          <ac:chgData name="Robert Groves" userId="18340ee5-2ee2-4523-a1bd-00715d104e64" providerId="ADAL" clId="{231B19FB-13C4-40F9-BA23-1964A90913D0}" dt="2023-10-24T13:51:40.231" v="10733" actId="478"/>
          <ac:picMkLst>
            <pc:docMk/>
            <pc:sldMk cId="626761566" sldId="814"/>
            <ac:picMk id="2" creationId="{00000000-0000-0000-0000-000000000000}"/>
          </ac:picMkLst>
        </pc:picChg>
        <pc:picChg chg="add mod">
          <ac:chgData name="Robert Groves" userId="18340ee5-2ee2-4523-a1bd-00715d104e64" providerId="ADAL" clId="{231B19FB-13C4-40F9-BA23-1964A90913D0}" dt="2023-10-24T13:51:43.361" v="10735" actId="1076"/>
          <ac:picMkLst>
            <pc:docMk/>
            <pc:sldMk cId="626761566" sldId="814"/>
            <ac:picMk id="4" creationId="{4025331C-4585-4817-C8B8-D1F50639AA2E}"/>
          </ac:picMkLst>
        </pc:picChg>
      </pc:sldChg>
      <pc:sldChg chg="modSp mod">
        <pc:chgData name="Robert Groves" userId="18340ee5-2ee2-4523-a1bd-00715d104e64" providerId="ADAL" clId="{231B19FB-13C4-40F9-BA23-1964A90913D0}" dt="2023-10-21T18:34:40.378" v="4725" actId="20577"/>
        <pc:sldMkLst>
          <pc:docMk/>
          <pc:sldMk cId="2861356612" sldId="819"/>
        </pc:sldMkLst>
        <pc:spChg chg="mod">
          <ac:chgData name="Robert Groves" userId="18340ee5-2ee2-4523-a1bd-00715d104e64" providerId="ADAL" clId="{231B19FB-13C4-40F9-BA23-1964A90913D0}" dt="2023-10-21T18:34:40.378" v="4725" actId="20577"/>
          <ac:spMkLst>
            <pc:docMk/>
            <pc:sldMk cId="2861356612" sldId="819"/>
            <ac:spMk id="7" creationId="{F0E78806-A03B-0FBE-97E3-82CBD067D0C8}"/>
          </ac:spMkLst>
        </pc:spChg>
      </pc:sldChg>
      <pc:sldChg chg="del">
        <pc:chgData name="Robert Groves" userId="18340ee5-2ee2-4523-a1bd-00715d104e64" providerId="ADAL" clId="{231B19FB-13C4-40F9-BA23-1964A90913D0}" dt="2023-10-21T18:34:54.727" v="4750" actId="47"/>
        <pc:sldMkLst>
          <pc:docMk/>
          <pc:sldMk cId="4008967291" sldId="820"/>
        </pc:sldMkLst>
      </pc:sldChg>
      <pc:sldChg chg="del">
        <pc:chgData name="Robert Groves" userId="18340ee5-2ee2-4523-a1bd-00715d104e64" providerId="ADAL" clId="{231B19FB-13C4-40F9-BA23-1964A90913D0}" dt="2023-10-21T18:34:54.098" v="4749" actId="47"/>
        <pc:sldMkLst>
          <pc:docMk/>
          <pc:sldMk cId="202130115" sldId="821"/>
        </pc:sldMkLst>
      </pc:sldChg>
      <pc:sldChg chg="del">
        <pc:chgData name="Robert Groves" userId="18340ee5-2ee2-4523-a1bd-00715d104e64" providerId="ADAL" clId="{231B19FB-13C4-40F9-BA23-1964A90913D0}" dt="2023-10-21T18:34:55.612" v="4751" actId="47"/>
        <pc:sldMkLst>
          <pc:docMk/>
          <pc:sldMk cId="4218050105" sldId="822"/>
        </pc:sldMkLst>
      </pc:sldChg>
      <pc:sldChg chg="del">
        <pc:chgData name="Robert Groves" userId="18340ee5-2ee2-4523-a1bd-00715d104e64" providerId="ADAL" clId="{231B19FB-13C4-40F9-BA23-1964A90913D0}" dt="2023-10-21T18:34:56.132" v="4752" actId="47"/>
        <pc:sldMkLst>
          <pc:docMk/>
          <pc:sldMk cId="996978818" sldId="823"/>
        </pc:sldMkLst>
      </pc:sldChg>
      <pc:sldChg chg="del">
        <pc:chgData name="Robert Groves" userId="18340ee5-2ee2-4523-a1bd-00715d104e64" providerId="ADAL" clId="{231B19FB-13C4-40F9-BA23-1964A90913D0}" dt="2023-10-21T18:34:56.704" v="4753" actId="47"/>
        <pc:sldMkLst>
          <pc:docMk/>
          <pc:sldMk cId="572363689" sldId="824"/>
        </pc:sldMkLst>
      </pc:sldChg>
      <pc:sldChg chg="del">
        <pc:chgData name="Robert Groves" userId="18340ee5-2ee2-4523-a1bd-00715d104e64" providerId="ADAL" clId="{231B19FB-13C4-40F9-BA23-1964A90913D0}" dt="2023-10-21T18:34:57.345" v="4754" actId="47"/>
        <pc:sldMkLst>
          <pc:docMk/>
          <pc:sldMk cId="2312093861" sldId="825"/>
        </pc:sldMkLst>
      </pc:sldChg>
      <pc:sldChg chg="del">
        <pc:chgData name="Robert Groves" userId="18340ee5-2ee2-4523-a1bd-00715d104e64" providerId="ADAL" clId="{231B19FB-13C4-40F9-BA23-1964A90913D0}" dt="2023-10-21T18:34:58.096" v="4755" actId="47"/>
        <pc:sldMkLst>
          <pc:docMk/>
          <pc:sldMk cId="766103337" sldId="827"/>
        </pc:sldMkLst>
      </pc:sldChg>
      <pc:sldChg chg="del">
        <pc:chgData name="Robert Groves" userId="18340ee5-2ee2-4523-a1bd-00715d104e64" providerId="ADAL" clId="{231B19FB-13C4-40F9-BA23-1964A90913D0}" dt="2023-10-21T20:06:30.342" v="5676" actId="47"/>
        <pc:sldMkLst>
          <pc:docMk/>
          <pc:sldMk cId="723849688" sldId="834"/>
        </pc:sldMkLst>
      </pc:sldChg>
      <pc:sldChg chg="del">
        <pc:chgData name="Robert Groves" userId="18340ee5-2ee2-4523-a1bd-00715d104e64" providerId="ADAL" clId="{231B19FB-13C4-40F9-BA23-1964A90913D0}" dt="2023-10-21T20:06:30.882" v="5677" actId="47"/>
        <pc:sldMkLst>
          <pc:docMk/>
          <pc:sldMk cId="3381446435" sldId="835"/>
        </pc:sldMkLst>
      </pc:sldChg>
      <pc:sldChg chg="del">
        <pc:chgData name="Robert Groves" userId="18340ee5-2ee2-4523-a1bd-00715d104e64" providerId="ADAL" clId="{231B19FB-13C4-40F9-BA23-1964A90913D0}" dt="2023-10-21T20:06:31.840" v="5678" actId="47"/>
        <pc:sldMkLst>
          <pc:docMk/>
          <pc:sldMk cId="2008218148" sldId="836"/>
        </pc:sldMkLst>
      </pc:sldChg>
      <pc:sldChg chg="del">
        <pc:chgData name="Robert Groves" userId="18340ee5-2ee2-4523-a1bd-00715d104e64" providerId="ADAL" clId="{231B19FB-13C4-40F9-BA23-1964A90913D0}" dt="2023-10-21T20:06:29.317" v="5674" actId="47"/>
        <pc:sldMkLst>
          <pc:docMk/>
          <pc:sldMk cId="3842488809" sldId="837"/>
        </pc:sldMkLst>
      </pc:sldChg>
      <pc:sldChg chg="modSp mod">
        <pc:chgData name="Robert Groves" userId="18340ee5-2ee2-4523-a1bd-00715d104e64" providerId="ADAL" clId="{231B19FB-13C4-40F9-BA23-1964A90913D0}" dt="2023-10-21T20:06:38.310" v="5687" actId="20577"/>
        <pc:sldMkLst>
          <pc:docMk/>
          <pc:sldMk cId="88876680" sldId="839"/>
        </pc:sldMkLst>
        <pc:spChg chg="mod">
          <ac:chgData name="Robert Groves" userId="18340ee5-2ee2-4523-a1bd-00715d104e64" providerId="ADAL" clId="{231B19FB-13C4-40F9-BA23-1964A90913D0}" dt="2023-10-21T20:06:38.310" v="5687" actId="20577"/>
          <ac:spMkLst>
            <pc:docMk/>
            <pc:sldMk cId="88876680" sldId="839"/>
            <ac:spMk id="7" creationId="{F0E78806-A03B-0FBE-97E3-82CBD067D0C8}"/>
          </ac:spMkLst>
        </pc:spChg>
      </pc:sldChg>
      <pc:sldChg chg="modSp add mod ord">
        <pc:chgData name="Robert Groves" userId="18340ee5-2ee2-4523-a1bd-00715d104e64" providerId="ADAL" clId="{231B19FB-13C4-40F9-BA23-1964A90913D0}" dt="2023-10-24T11:35:04.649" v="8524" actId="1076"/>
        <pc:sldMkLst>
          <pc:docMk/>
          <pc:sldMk cId="369637617" sldId="840"/>
        </pc:sldMkLst>
        <pc:spChg chg="mod">
          <ac:chgData name="Robert Groves" userId="18340ee5-2ee2-4523-a1bd-00715d104e64" providerId="ADAL" clId="{231B19FB-13C4-40F9-BA23-1964A90913D0}" dt="2023-10-21T14:28:45.468" v="374" actId="20577"/>
          <ac:spMkLst>
            <pc:docMk/>
            <pc:sldMk cId="369637617" sldId="840"/>
            <ac:spMk id="5" creationId="{52EBD7CB-CAB0-238B-96A4-71E2BBF45749}"/>
          </ac:spMkLst>
        </pc:spChg>
        <pc:spChg chg="mod">
          <ac:chgData name="Robert Groves" userId="18340ee5-2ee2-4523-a1bd-00715d104e64" providerId="ADAL" clId="{231B19FB-13C4-40F9-BA23-1964A90913D0}" dt="2023-10-24T11:35:04.649" v="8524" actId="1076"/>
          <ac:spMkLst>
            <pc:docMk/>
            <pc:sldMk cId="369637617" sldId="840"/>
            <ac:spMk id="6" creationId="{3C87C273-51ED-12B6-BDD7-7A28E31A4BF8}"/>
          </ac:spMkLst>
        </pc:spChg>
      </pc:sldChg>
      <pc:sldChg chg="addSp delSp modSp add mod ord delAnim modAnim">
        <pc:chgData name="Robert Groves" userId="18340ee5-2ee2-4523-a1bd-00715d104e64" providerId="ADAL" clId="{231B19FB-13C4-40F9-BA23-1964A90913D0}" dt="2023-10-30T14:42:12.744" v="11503" actId="1076"/>
        <pc:sldMkLst>
          <pc:docMk/>
          <pc:sldMk cId="3598175689" sldId="841"/>
        </pc:sldMkLst>
        <pc:spChg chg="del">
          <ac:chgData name="Robert Groves" userId="18340ee5-2ee2-4523-a1bd-00715d104e64" providerId="ADAL" clId="{231B19FB-13C4-40F9-BA23-1964A90913D0}" dt="2023-10-21T15:24:27.733" v="952" actId="478"/>
          <ac:spMkLst>
            <pc:docMk/>
            <pc:sldMk cId="3598175689" sldId="841"/>
            <ac:spMk id="2" creationId="{125140AD-44C4-3AC3-171A-F8D273A79CD2}"/>
          </ac:spMkLst>
        </pc:spChg>
        <pc:spChg chg="add del mod">
          <ac:chgData name="Robert Groves" userId="18340ee5-2ee2-4523-a1bd-00715d104e64" providerId="ADAL" clId="{231B19FB-13C4-40F9-BA23-1964A90913D0}" dt="2023-10-24T11:56:26.178" v="9097" actId="21"/>
          <ac:spMkLst>
            <pc:docMk/>
            <pc:sldMk cId="3598175689" sldId="841"/>
            <ac:spMk id="3" creationId="{4180925F-7452-BFDA-EAED-C134932B4AA6}"/>
          </ac:spMkLst>
        </pc:spChg>
        <pc:spChg chg="mod">
          <ac:chgData name="Robert Groves" userId="18340ee5-2ee2-4523-a1bd-00715d104e64" providerId="ADAL" clId="{231B19FB-13C4-40F9-BA23-1964A90913D0}" dt="2023-10-24T13:23:47.953" v="10477" actId="14100"/>
          <ac:spMkLst>
            <pc:docMk/>
            <pc:sldMk cId="3598175689" sldId="841"/>
            <ac:spMk id="4" creationId="{070DC908-3191-58D8-6655-620E2932D20E}"/>
          </ac:spMkLst>
        </pc:spChg>
        <pc:spChg chg="add del mod">
          <ac:chgData name="Robert Groves" userId="18340ee5-2ee2-4523-a1bd-00715d104e64" providerId="ADAL" clId="{231B19FB-13C4-40F9-BA23-1964A90913D0}" dt="2023-10-24T11:53:12.301" v="8978" actId="478"/>
          <ac:spMkLst>
            <pc:docMk/>
            <pc:sldMk cId="3598175689" sldId="841"/>
            <ac:spMk id="6" creationId="{D7C3BA1D-2AF2-ED60-8764-2373973D8BF0}"/>
          </ac:spMkLst>
        </pc:spChg>
        <pc:spChg chg="add del mod">
          <ac:chgData name="Robert Groves" userId="18340ee5-2ee2-4523-a1bd-00715d104e64" providerId="ADAL" clId="{231B19FB-13C4-40F9-BA23-1964A90913D0}" dt="2023-10-24T12:00:36.693" v="9126" actId="478"/>
          <ac:spMkLst>
            <pc:docMk/>
            <pc:sldMk cId="3598175689" sldId="841"/>
            <ac:spMk id="7" creationId="{BDDC1E7F-94D8-9161-F0B1-39F0779DEC92}"/>
          </ac:spMkLst>
        </pc:spChg>
        <pc:spChg chg="add del mod">
          <ac:chgData name="Robert Groves" userId="18340ee5-2ee2-4523-a1bd-00715d104e64" providerId="ADAL" clId="{231B19FB-13C4-40F9-BA23-1964A90913D0}" dt="2023-10-24T12:01:08.382" v="9129" actId="478"/>
          <ac:spMkLst>
            <pc:docMk/>
            <pc:sldMk cId="3598175689" sldId="841"/>
            <ac:spMk id="8" creationId="{F921E59D-297C-1785-4C8E-E502030D440A}"/>
          </ac:spMkLst>
        </pc:spChg>
        <pc:spChg chg="add del">
          <ac:chgData name="Robert Groves" userId="18340ee5-2ee2-4523-a1bd-00715d104e64" providerId="ADAL" clId="{231B19FB-13C4-40F9-BA23-1964A90913D0}" dt="2023-10-24T12:01:15.526" v="9131" actId="22"/>
          <ac:spMkLst>
            <pc:docMk/>
            <pc:sldMk cId="3598175689" sldId="841"/>
            <ac:spMk id="10" creationId="{2ED28D2A-2A86-A861-B030-3000C50DAD86}"/>
          </ac:spMkLst>
        </pc:spChg>
        <pc:spChg chg="add del mod">
          <ac:chgData name="Robert Groves" userId="18340ee5-2ee2-4523-a1bd-00715d104e64" providerId="ADAL" clId="{231B19FB-13C4-40F9-BA23-1964A90913D0}" dt="2023-10-24T12:04:46.153" v="9262"/>
          <ac:spMkLst>
            <pc:docMk/>
            <pc:sldMk cId="3598175689" sldId="841"/>
            <ac:spMk id="12" creationId="{94704AAB-9D26-7593-E484-7B1A1DF15195}"/>
          </ac:spMkLst>
        </pc:spChg>
        <pc:spChg chg="add mod">
          <ac:chgData name="Robert Groves" userId="18340ee5-2ee2-4523-a1bd-00715d104e64" providerId="ADAL" clId="{231B19FB-13C4-40F9-BA23-1964A90913D0}" dt="2023-10-30T14:42:12.744" v="11503" actId="1076"/>
          <ac:spMkLst>
            <pc:docMk/>
            <pc:sldMk cId="3598175689" sldId="841"/>
            <ac:spMk id="13" creationId="{4110CF28-94E3-7BD5-FBD7-D0D47956A33C}"/>
          </ac:spMkLst>
        </pc:spChg>
        <pc:graphicFrameChg chg="add mod modGraphic">
          <ac:chgData name="Robert Groves" userId="18340ee5-2ee2-4523-a1bd-00715d104e64" providerId="ADAL" clId="{231B19FB-13C4-40F9-BA23-1964A90913D0}" dt="2023-10-30T14:42:08.207" v="11502" actId="1076"/>
          <ac:graphicFrameMkLst>
            <pc:docMk/>
            <pc:sldMk cId="3598175689" sldId="841"/>
            <ac:graphicFrameMk id="2" creationId="{7E8B1399-C6A6-DCF4-9880-58E21FA6B8CA}"/>
          </ac:graphicFrameMkLst>
        </pc:graphicFrameChg>
        <pc:picChg chg="del">
          <ac:chgData name="Robert Groves" userId="18340ee5-2ee2-4523-a1bd-00715d104e64" providerId="ADAL" clId="{231B19FB-13C4-40F9-BA23-1964A90913D0}" dt="2023-10-21T15:24:25.835" v="951" actId="478"/>
          <ac:picMkLst>
            <pc:docMk/>
            <pc:sldMk cId="3598175689" sldId="841"/>
            <ac:picMk id="3" creationId="{8F93280F-C31E-F643-4433-2BE0EF51D054}"/>
          </ac:picMkLst>
        </pc:picChg>
        <pc:picChg chg="add del mod">
          <ac:chgData name="Robert Groves" userId="18340ee5-2ee2-4523-a1bd-00715d104e64" providerId="ADAL" clId="{231B19FB-13C4-40F9-BA23-1964A90913D0}" dt="2023-10-21T15:32:11.892" v="959" actId="478"/>
          <ac:picMkLst>
            <pc:docMk/>
            <pc:sldMk cId="3598175689" sldId="841"/>
            <ac:picMk id="5" creationId="{451792E2-C3EE-66CB-3699-9C26F140DC18}"/>
          </ac:picMkLst>
        </pc:picChg>
        <pc:picChg chg="add del mod modCrop">
          <ac:chgData name="Robert Groves" userId="18340ee5-2ee2-4523-a1bd-00715d104e64" providerId="ADAL" clId="{231B19FB-13C4-40F9-BA23-1964A90913D0}" dt="2023-10-24T11:57:11.270" v="9116" actId="478"/>
          <ac:picMkLst>
            <pc:docMk/>
            <pc:sldMk cId="3598175689" sldId="841"/>
            <ac:picMk id="5" creationId="{82006BCA-5BF4-DF2E-DDBA-5104F430D0C1}"/>
          </ac:picMkLst>
        </pc:picChg>
      </pc:sldChg>
      <pc:sldChg chg="modSp add del mod ord">
        <pc:chgData name="Robert Groves" userId="18340ee5-2ee2-4523-a1bd-00715d104e64" providerId="ADAL" clId="{231B19FB-13C4-40F9-BA23-1964A90913D0}" dt="2023-10-24T13:19:46.479" v="10461" actId="47"/>
        <pc:sldMkLst>
          <pc:docMk/>
          <pc:sldMk cId="2061178466" sldId="842"/>
        </pc:sldMkLst>
        <pc:spChg chg="mod">
          <ac:chgData name="Robert Groves" userId="18340ee5-2ee2-4523-a1bd-00715d104e64" providerId="ADAL" clId="{231B19FB-13C4-40F9-BA23-1964A90913D0}" dt="2023-10-21T16:36:41.305" v="1306" actId="20577"/>
          <ac:spMkLst>
            <pc:docMk/>
            <pc:sldMk cId="2061178466" sldId="842"/>
            <ac:spMk id="5" creationId="{52EBD7CB-CAB0-238B-96A4-71E2BBF45749}"/>
          </ac:spMkLst>
        </pc:spChg>
        <pc:spChg chg="mod">
          <ac:chgData name="Robert Groves" userId="18340ee5-2ee2-4523-a1bd-00715d104e64" providerId="ADAL" clId="{231B19FB-13C4-40F9-BA23-1964A90913D0}" dt="2023-10-24T13:17:15.458" v="10359" actId="20577"/>
          <ac:spMkLst>
            <pc:docMk/>
            <pc:sldMk cId="2061178466" sldId="842"/>
            <ac:spMk id="6" creationId="{3C87C273-51ED-12B6-BDD7-7A28E31A4BF8}"/>
          </ac:spMkLst>
        </pc:spChg>
      </pc:sldChg>
      <pc:sldChg chg="modSp add del mod ord">
        <pc:chgData name="Robert Groves" userId="18340ee5-2ee2-4523-a1bd-00715d104e64" providerId="ADAL" clId="{231B19FB-13C4-40F9-BA23-1964A90913D0}" dt="2023-10-24T13:20:31.626" v="10473" actId="47"/>
        <pc:sldMkLst>
          <pc:docMk/>
          <pc:sldMk cId="3234145257" sldId="843"/>
        </pc:sldMkLst>
        <pc:spChg chg="mod">
          <ac:chgData name="Robert Groves" userId="18340ee5-2ee2-4523-a1bd-00715d104e64" providerId="ADAL" clId="{231B19FB-13C4-40F9-BA23-1964A90913D0}" dt="2023-10-21T16:51:34.382" v="1518" actId="20577"/>
          <ac:spMkLst>
            <pc:docMk/>
            <pc:sldMk cId="3234145257" sldId="843"/>
            <ac:spMk id="4" creationId="{070DC908-3191-58D8-6655-620E2932D20E}"/>
          </ac:spMkLst>
        </pc:spChg>
        <pc:spChg chg="mod">
          <ac:chgData name="Robert Groves" userId="18340ee5-2ee2-4523-a1bd-00715d104e64" providerId="ADAL" clId="{231B19FB-13C4-40F9-BA23-1964A90913D0}" dt="2023-10-24T12:19:26.405" v="9629" actId="20577"/>
          <ac:spMkLst>
            <pc:docMk/>
            <pc:sldMk cId="3234145257" sldId="843"/>
            <ac:spMk id="6" creationId="{D7C3BA1D-2AF2-ED60-8764-2373973D8BF0}"/>
          </ac:spMkLst>
        </pc:spChg>
      </pc:sldChg>
      <pc:sldChg chg="modSp add mod ord">
        <pc:chgData name="Robert Groves" userId="18340ee5-2ee2-4523-a1bd-00715d104e64" providerId="ADAL" clId="{231B19FB-13C4-40F9-BA23-1964A90913D0}" dt="2023-10-21T17:39:28.969" v="3016" actId="20577"/>
        <pc:sldMkLst>
          <pc:docMk/>
          <pc:sldMk cId="1087826472" sldId="844"/>
        </pc:sldMkLst>
        <pc:spChg chg="mod">
          <ac:chgData name="Robert Groves" userId="18340ee5-2ee2-4523-a1bd-00715d104e64" providerId="ADAL" clId="{231B19FB-13C4-40F9-BA23-1964A90913D0}" dt="2023-10-21T17:39:28.969" v="3016" actId="20577"/>
          <ac:spMkLst>
            <pc:docMk/>
            <pc:sldMk cId="1087826472" sldId="844"/>
            <ac:spMk id="7" creationId="{F0E78806-A03B-0FBE-97E3-82CBD067D0C8}"/>
          </ac:spMkLst>
        </pc:spChg>
      </pc:sldChg>
      <pc:sldChg chg="delSp modSp add del mod ord">
        <pc:chgData name="Robert Groves" userId="18340ee5-2ee2-4523-a1bd-00715d104e64" providerId="ADAL" clId="{231B19FB-13C4-40F9-BA23-1964A90913D0}" dt="2023-10-24T12:00:56.291" v="9127" actId="47"/>
        <pc:sldMkLst>
          <pc:docMk/>
          <pc:sldMk cId="2630269895" sldId="845"/>
        </pc:sldMkLst>
        <pc:spChg chg="mod">
          <ac:chgData name="Robert Groves" userId="18340ee5-2ee2-4523-a1bd-00715d104e64" providerId="ADAL" clId="{231B19FB-13C4-40F9-BA23-1964A90913D0}" dt="2023-10-24T11:48:40.886" v="8716" actId="20577"/>
          <ac:spMkLst>
            <pc:docMk/>
            <pc:sldMk cId="2630269895" sldId="845"/>
            <ac:spMk id="4" creationId="{070DC908-3191-58D8-6655-620E2932D20E}"/>
          </ac:spMkLst>
        </pc:spChg>
        <pc:spChg chg="del">
          <ac:chgData name="Robert Groves" userId="18340ee5-2ee2-4523-a1bd-00715d104e64" providerId="ADAL" clId="{231B19FB-13C4-40F9-BA23-1964A90913D0}" dt="2023-10-21T17:41:57.986" v="3026" actId="478"/>
          <ac:spMkLst>
            <pc:docMk/>
            <pc:sldMk cId="2630269895" sldId="845"/>
            <ac:spMk id="6" creationId="{D7C3BA1D-2AF2-ED60-8764-2373973D8BF0}"/>
          </ac:spMkLst>
        </pc:spChg>
      </pc:sldChg>
      <pc:sldChg chg="delSp add del mod ord">
        <pc:chgData name="Robert Groves" userId="18340ee5-2ee2-4523-a1bd-00715d104e64" providerId="ADAL" clId="{231B19FB-13C4-40F9-BA23-1964A90913D0}" dt="2023-10-24T12:05:01.542" v="9264" actId="47"/>
        <pc:sldMkLst>
          <pc:docMk/>
          <pc:sldMk cId="998539897" sldId="846"/>
        </pc:sldMkLst>
        <pc:spChg chg="del">
          <ac:chgData name="Robert Groves" userId="18340ee5-2ee2-4523-a1bd-00715d104e64" providerId="ADAL" clId="{231B19FB-13C4-40F9-BA23-1964A90913D0}" dt="2023-10-21T17:42:04.034" v="3031" actId="478"/>
          <ac:spMkLst>
            <pc:docMk/>
            <pc:sldMk cId="998539897" sldId="846"/>
            <ac:spMk id="6" creationId="{3C87C273-51ED-12B6-BDD7-7A28E31A4BF8}"/>
          </ac:spMkLst>
        </pc:spChg>
        <pc:picChg chg="del">
          <ac:chgData name="Robert Groves" userId="18340ee5-2ee2-4523-a1bd-00715d104e64" providerId="ADAL" clId="{231B19FB-13C4-40F9-BA23-1964A90913D0}" dt="2023-10-21T17:42:02.991" v="3030" actId="478"/>
          <ac:picMkLst>
            <pc:docMk/>
            <pc:sldMk cId="998539897" sldId="846"/>
            <ac:picMk id="2" creationId="{00000000-0000-0000-0000-000000000000}"/>
          </ac:picMkLst>
        </pc:picChg>
      </pc:sldChg>
      <pc:sldChg chg="delSp add del mod ord">
        <pc:chgData name="Robert Groves" userId="18340ee5-2ee2-4523-a1bd-00715d104e64" providerId="ADAL" clId="{231B19FB-13C4-40F9-BA23-1964A90913D0}" dt="2023-10-24T12:05:02.388" v="9265" actId="47"/>
        <pc:sldMkLst>
          <pc:docMk/>
          <pc:sldMk cId="2615217693" sldId="847"/>
        </pc:sldMkLst>
        <pc:spChg chg="del">
          <ac:chgData name="Robert Groves" userId="18340ee5-2ee2-4523-a1bd-00715d104e64" providerId="ADAL" clId="{231B19FB-13C4-40F9-BA23-1964A90913D0}" dt="2023-10-21T17:42:11.324" v="3035" actId="478"/>
          <ac:spMkLst>
            <pc:docMk/>
            <pc:sldMk cId="2615217693" sldId="847"/>
            <ac:spMk id="6" creationId="{D7C3BA1D-2AF2-ED60-8764-2373973D8BF0}"/>
          </ac:spMkLst>
        </pc:spChg>
      </pc:sldChg>
      <pc:sldChg chg="add del ord">
        <pc:chgData name="Robert Groves" userId="18340ee5-2ee2-4523-a1bd-00715d104e64" providerId="ADAL" clId="{231B19FB-13C4-40F9-BA23-1964A90913D0}" dt="2023-10-21T18:02:30.918" v="3496" actId="47"/>
        <pc:sldMkLst>
          <pc:docMk/>
          <pc:sldMk cId="534577309" sldId="848"/>
        </pc:sldMkLst>
      </pc:sldChg>
      <pc:sldChg chg="addSp delSp modSp add mod ord">
        <pc:chgData name="Robert Groves" userId="18340ee5-2ee2-4523-a1bd-00715d104e64" providerId="ADAL" clId="{231B19FB-13C4-40F9-BA23-1964A90913D0}" dt="2023-10-24T13:52:44.344" v="10740"/>
        <pc:sldMkLst>
          <pc:docMk/>
          <pc:sldMk cId="469026881" sldId="849"/>
        </pc:sldMkLst>
        <pc:spChg chg="mod">
          <ac:chgData name="Robert Groves" userId="18340ee5-2ee2-4523-a1bd-00715d104e64" providerId="ADAL" clId="{231B19FB-13C4-40F9-BA23-1964A90913D0}" dt="2023-10-21T18:02:43.966" v="3497" actId="1076"/>
          <ac:spMkLst>
            <pc:docMk/>
            <pc:sldMk cId="469026881" sldId="849"/>
            <ac:spMk id="4" creationId="{DF20E3B6-5A42-BD0C-97FF-9F4101A8AFCC}"/>
          </ac:spMkLst>
        </pc:spChg>
        <pc:spChg chg="mod">
          <ac:chgData name="Robert Groves" userId="18340ee5-2ee2-4523-a1bd-00715d104e64" providerId="ADAL" clId="{231B19FB-13C4-40F9-BA23-1964A90913D0}" dt="2023-10-21T17:46:42.349" v="3058" actId="20577"/>
          <ac:spMkLst>
            <pc:docMk/>
            <pc:sldMk cId="469026881" sldId="849"/>
            <ac:spMk id="5" creationId="{52EBD7CB-CAB0-238B-96A4-71E2BBF45749}"/>
          </ac:spMkLst>
        </pc:spChg>
        <pc:picChg chg="add mod">
          <ac:chgData name="Robert Groves" userId="18340ee5-2ee2-4523-a1bd-00715d104e64" providerId="ADAL" clId="{231B19FB-13C4-40F9-BA23-1964A90913D0}" dt="2023-10-24T13:52:44.344" v="10740"/>
          <ac:picMkLst>
            <pc:docMk/>
            <pc:sldMk cId="469026881" sldId="849"/>
            <ac:picMk id="2" creationId="{8858E105-651B-9BAC-4CE2-349EB190F20A}"/>
          </ac:picMkLst>
        </pc:picChg>
        <pc:picChg chg="del">
          <ac:chgData name="Robert Groves" userId="18340ee5-2ee2-4523-a1bd-00715d104e64" providerId="ADAL" clId="{231B19FB-13C4-40F9-BA23-1964A90913D0}" dt="2023-10-24T13:52:44.134" v="10739" actId="478"/>
          <ac:picMkLst>
            <pc:docMk/>
            <pc:sldMk cId="469026881" sldId="849"/>
            <ac:picMk id="3" creationId="{FDD3283C-5ADF-03D4-F754-D6BCC138BC1E}"/>
          </ac:picMkLst>
        </pc:picChg>
      </pc:sldChg>
      <pc:sldChg chg="addSp delSp modSp add mod ord">
        <pc:chgData name="Robert Groves" userId="18340ee5-2ee2-4523-a1bd-00715d104e64" providerId="ADAL" clId="{231B19FB-13C4-40F9-BA23-1964A90913D0}" dt="2023-10-24T14:22:28.027" v="11286" actId="1076"/>
        <pc:sldMkLst>
          <pc:docMk/>
          <pc:sldMk cId="1296163990" sldId="850"/>
        </pc:sldMkLst>
        <pc:spChg chg="mod">
          <ac:chgData name="Robert Groves" userId="18340ee5-2ee2-4523-a1bd-00715d104e64" providerId="ADAL" clId="{231B19FB-13C4-40F9-BA23-1964A90913D0}" dt="2023-10-21T18:00:16.659" v="3436" actId="20577"/>
          <ac:spMkLst>
            <pc:docMk/>
            <pc:sldMk cId="1296163990" sldId="850"/>
            <ac:spMk id="2" creationId="{776549CA-103D-CC93-8E18-660470A9F589}"/>
          </ac:spMkLst>
        </pc:spChg>
        <pc:spChg chg="add del mod">
          <ac:chgData name="Robert Groves" userId="18340ee5-2ee2-4523-a1bd-00715d104e64" providerId="ADAL" clId="{231B19FB-13C4-40F9-BA23-1964A90913D0}" dt="2023-10-21T18:00:27.208" v="3440" actId="478"/>
          <ac:spMkLst>
            <pc:docMk/>
            <pc:sldMk cId="1296163990" sldId="850"/>
            <ac:spMk id="4" creationId="{1813A63C-AB77-88E5-D320-B818CDF01DEA}"/>
          </ac:spMkLst>
        </pc:spChg>
        <pc:spChg chg="add mod">
          <ac:chgData name="Robert Groves" userId="18340ee5-2ee2-4523-a1bd-00715d104e64" providerId="ADAL" clId="{231B19FB-13C4-40F9-BA23-1964A90913D0}" dt="2023-10-24T14:22:28.027" v="11286" actId="1076"/>
          <ac:spMkLst>
            <pc:docMk/>
            <pc:sldMk cId="1296163990" sldId="850"/>
            <ac:spMk id="5" creationId="{E2827EB6-736F-73F0-FABA-E70E55A602D5}"/>
          </ac:spMkLst>
        </pc:spChg>
        <pc:spChg chg="del">
          <ac:chgData name="Robert Groves" userId="18340ee5-2ee2-4523-a1bd-00715d104e64" providerId="ADAL" clId="{231B19FB-13C4-40F9-BA23-1964A90913D0}" dt="2023-10-21T18:00:07.552" v="3420" actId="478"/>
          <ac:spMkLst>
            <pc:docMk/>
            <pc:sldMk cId="1296163990" sldId="850"/>
            <ac:spMk id="6" creationId="{3C87C273-51ED-12B6-BDD7-7A28E31A4BF8}"/>
          </ac:spMkLst>
        </pc:spChg>
      </pc:sldChg>
      <pc:sldChg chg="addSp delSp modSp add del mod ord">
        <pc:chgData name="Robert Groves" userId="18340ee5-2ee2-4523-a1bd-00715d104e64" providerId="ADAL" clId="{231B19FB-13C4-40F9-BA23-1964A90913D0}" dt="2023-10-23T15:13:15.660" v="7579" actId="47"/>
        <pc:sldMkLst>
          <pc:docMk/>
          <pc:sldMk cId="3223315904" sldId="851"/>
        </pc:sldMkLst>
        <pc:spChg chg="del">
          <ac:chgData name="Robert Groves" userId="18340ee5-2ee2-4523-a1bd-00715d104e64" providerId="ADAL" clId="{231B19FB-13C4-40F9-BA23-1964A90913D0}" dt="2023-10-21T18:13:26.981" v="4087" actId="478"/>
          <ac:spMkLst>
            <pc:docMk/>
            <pc:sldMk cId="3223315904" sldId="851"/>
            <ac:spMk id="2" creationId="{125140AD-44C4-3AC3-171A-F8D273A79CD2}"/>
          </ac:spMkLst>
        </pc:spChg>
        <pc:spChg chg="mod">
          <ac:chgData name="Robert Groves" userId="18340ee5-2ee2-4523-a1bd-00715d104e64" providerId="ADAL" clId="{231B19FB-13C4-40F9-BA23-1964A90913D0}" dt="2023-10-21T18:13:21.848" v="4086" actId="20577"/>
          <ac:spMkLst>
            <pc:docMk/>
            <pc:sldMk cId="3223315904" sldId="851"/>
            <ac:spMk id="4" creationId="{070DC908-3191-58D8-6655-620E2932D20E}"/>
          </ac:spMkLst>
        </pc:spChg>
        <pc:spChg chg="add mod">
          <ac:chgData name="Robert Groves" userId="18340ee5-2ee2-4523-a1bd-00715d104e64" providerId="ADAL" clId="{231B19FB-13C4-40F9-BA23-1964A90913D0}" dt="2023-10-21T19:24:45.153" v="5640" actId="20577"/>
          <ac:spMkLst>
            <pc:docMk/>
            <pc:sldMk cId="3223315904" sldId="851"/>
            <ac:spMk id="5" creationId="{84C48AF2-D2F6-4B0B-E304-455BB55D6C69}"/>
          </ac:spMkLst>
        </pc:spChg>
      </pc:sldChg>
      <pc:sldChg chg="addSp delSp modSp add mod ord">
        <pc:chgData name="Robert Groves" userId="18340ee5-2ee2-4523-a1bd-00715d104e64" providerId="ADAL" clId="{231B19FB-13C4-40F9-BA23-1964A90913D0}" dt="2023-10-24T13:54:59.621" v="11045" actId="1076"/>
        <pc:sldMkLst>
          <pc:docMk/>
          <pc:sldMk cId="1458122455" sldId="852"/>
        </pc:sldMkLst>
        <pc:spChg chg="mod">
          <ac:chgData name="Robert Groves" userId="18340ee5-2ee2-4523-a1bd-00715d104e64" providerId="ADAL" clId="{231B19FB-13C4-40F9-BA23-1964A90913D0}" dt="2023-10-24T13:54:59.621" v="11045" actId="1076"/>
          <ac:spMkLst>
            <pc:docMk/>
            <pc:sldMk cId="1458122455" sldId="852"/>
            <ac:spMk id="4" creationId="{070DC908-3191-58D8-6655-620E2932D20E}"/>
          </ac:spMkLst>
        </pc:spChg>
        <pc:spChg chg="mod">
          <ac:chgData name="Robert Groves" userId="18340ee5-2ee2-4523-a1bd-00715d104e64" providerId="ADAL" clId="{231B19FB-13C4-40F9-BA23-1964A90913D0}" dt="2023-10-24T13:54:56.548" v="11044" actId="1076"/>
          <ac:spMkLst>
            <pc:docMk/>
            <pc:sldMk cId="1458122455" sldId="852"/>
            <ac:spMk id="5" creationId="{84C48AF2-D2F6-4B0B-E304-455BB55D6C69}"/>
          </ac:spMkLst>
        </pc:spChg>
        <pc:picChg chg="add mod">
          <ac:chgData name="Robert Groves" userId="18340ee5-2ee2-4523-a1bd-00715d104e64" providerId="ADAL" clId="{231B19FB-13C4-40F9-BA23-1964A90913D0}" dt="2023-10-24T13:54:50.727" v="11043"/>
          <ac:picMkLst>
            <pc:docMk/>
            <pc:sldMk cId="1458122455" sldId="852"/>
            <ac:picMk id="2" creationId="{D8EABF70-E847-DA09-FC10-7674DA26E579}"/>
          </ac:picMkLst>
        </pc:picChg>
        <pc:picChg chg="del">
          <ac:chgData name="Robert Groves" userId="18340ee5-2ee2-4523-a1bd-00715d104e64" providerId="ADAL" clId="{231B19FB-13C4-40F9-BA23-1964A90913D0}" dt="2023-10-24T13:54:25.297" v="10883" actId="478"/>
          <ac:picMkLst>
            <pc:docMk/>
            <pc:sldMk cId="1458122455" sldId="852"/>
            <ac:picMk id="3" creationId="{8F93280F-C31E-F643-4433-2BE0EF51D054}"/>
          </ac:picMkLst>
        </pc:picChg>
      </pc:sldChg>
      <pc:sldChg chg="addSp delSp modSp add mod ord">
        <pc:chgData name="Robert Groves" userId="18340ee5-2ee2-4523-a1bd-00715d104e64" providerId="ADAL" clId="{231B19FB-13C4-40F9-BA23-1964A90913D0}" dt="2023-10-27T09:46:29.719" v="11384" actId="6549"/>
        <pc:sldMkLst>
          <pc:docMk/>
          <pc:sldMk cId="224966501" sldId="853"/>
        </pc:sldMkLst>
        <pc:spChg chg="mod">
          <ac:chgData name="Robert Groves" userId="18340ee5-2ee2-4523-a1bd-00715d104e64" providerId="ADAL" clId="{231B19FB-13C4-40F9-BA23-1964A90913D0}" dt="2023-10-27T09:46:29.719" v="11384" actId="6549"/>
          <ac:spMkLst>
            <pc:docMk/>
            <pc:sldMk cId="224966501" sldId="853"/>
            <ac:spMk id="2" creationId="{C75C9AC6-E8D4-81F8-873B-2AD9102C63CC}"/>
          </ac:spMkLst>
        </pc:spChg>
        <pc:spChg chg="mod">
          <ac:chgData name="Robert Groves" userId="18340ee5-2ee2-4523-a1bd-00715d104e64" providerId="ADAL" clId="{231B19FB-13C4-40F9-BA23-1964A90913D0}" dt="2023-10-24T13:54:07.156" v="10881" actId="1038"/>
          <ac:spMkLst>
            <pc:docMk/>
            <pc:sldMk cId="224966501" sldId="853"/>
            <ac:spMk id="9" creationId="{24FD1763-E64D-4529-0D89-4F515C46659E}"/>
          </ac:spMkLst>
        </pc:spChg>
        <pc:picChg chg="add mod">
          <ac:chgData name="Robert Groves" userId="18340ee5-2ee2-4523-a1bd-00715d104e64" providerId="ADAL" clId="{231B19FB-13C4-40F9-BA23-1964A90913D0}" dt="2023-10-24T13:54:17.604" v="10882"/>
          <ac:picMkLst>
            <pc:docMk/>
            <pc:sldMk cId="224966501" sldId="853"/>
            <ac:picMk id="3" creationId="{8BE1641B-C4CB-028A-DDFE-1D310BD6F044}"/>
          </ac:picMkLst>
        </pc:picChg>
        <pc:picChg chg="del">
          <ac:chgData name="Robert Groves" userId="18340ee5-2ee2-4523-a1bd-00715d104e64" providerId="ADAL" clId="{231B19FB-13C4-40F9-BA23-1964A90913D0}" dt="2023-10-24T13:53:58.907" v="10747" actId="478"/>
          <ac:picMkLst>
            <pc:docMk/>
            <pc:sldMk cId="224966501" sldId="853"/>
            <ac:picMk id="12" creationId="{F86538A6-6D76-DA12-E82B-5302A152B723}"/>
          </ac:picMkLst>
        </pc:picChg>
      </pc:sldChg>
      <pc:sldChg chg="addSp delSp modSp add del mod">
        <pc:chgData name="Robert Groves" userId="18340ee5-2ee2-4523-a1bd-00715d104e64" providerId="ADAL" clId="{231B19FB-13C4-40F9-BA23-1964A90913D0}" dt="2023-10-23T14:18:26.068" v="7243" actId="47"/>
        <pc:sldMkLst>
          <pc:docMk/>
          <pc:sldMk cId="1013597397" sldId="854"/>
        </pc:sldMkLst>
        <pc:spChg chg="mod">
          <ac:chgData name="Robert Groves" userId="18340ee5-2ee2-4523-a1bd-00715d104e64" providerId="ADAL" clId="{231B19FB-13C4-40F9-BA23-1964A90913D0}" dt="2023-10-23T14:11:23.927" v="6870" actId="20577"/>
          <ac:spMkLst>
            <pc:docMk/>
            <pc:sldMk cId="1013597397" sldId="854"/>
            <ac:spMk id="5" creationId="{52EBD7CB-CAB0-238B-96A4-71E2BBF45749}"/>
          </ac:spMkLst>
        </pc:spChg>
        <pc:spChg chg="del">
          <ac:chgData name="Robert Groves" userId="18340ee5-2ee2-4523-a1bd-00715d104e64" providerId="ADAL" clId="{231B19FB-13C4-40F9-BA23-1964A90913D0}" dt="2023-10-23T14:10:27.727" v="6837" actId="478"/>
          <ac:spMkLst>
            <pc:docMk/>
            <pc:sldMk cId="1013597397" sldId="854"/>
            <ac:spMk id="6" creationId="{3C87C273-51ED-12B6-BDD7-7A28E31A4BF8}"/>
          </ac:spMkLst>
        </pc:spChg>
        <pc:spChg chg="add del mod">
          <ac:chgData name="Robert Groves" userId="18340ee5-2ee2-4523-a1bd-00715d104e64" providerId="ADAL" clId="{231B19FB-13C4-40F9-BA23-1964A90913D0}" dt="2023-10-23T14:11:29.698" v="6876" actId="20577"/>
          <ac:spMkLst>
            <pc:docMk/>
            <pc:sldMk cId="1013597397" sldId="854"/>
            <ac:spMk id="7" creationId="{32E5C316-0755-C950-B60C-3C86EAAB8FBD}"/>
          </ac:spMkLst>
        </pc:spChg>
        <pc:spChg chg="add del mod">
          <ac:chgData name="Robert Groves" userId="18340ee5-2ee2-4523-a1bd-00715d104e64" providerId="ADAL" clId="{231B19FB-13C4-40F9-BA23-1964A90913D0}" dt="2023-10-23T14:11:32.129" v="6877" actId="6549"/>
          <ac:spMkLst>
            <pc:docMk/>
            <pc:sldMk cId="1013597397" sldId="854"/>
            <ac:spMk id="8" creationId="{1CA253FC-B5F3-1847-5EFB-48AA6D0EA241}"/>
          </ac:spMkLst>
        </pc:spChg>
        <pc:spChg chg="add del mod">
          <ac:chgData name="Robert Groves" userId="18340ee5-2ee2-4523-a1bd-00715d104e64" providerId="ADAL" clId="{231B19FB-13C4-40F9-BA23-1964A90913D0}" dt="2023-10-23T14:11:09.168" v="6841" actId="478"/>
          <ac:spMkLst>
            <pc:docMk/>
            <pc:sldMk cId="1013597397" sldId="854"/>
            <ac:spMk id="9" creationId="{223DE4BD-142B-A58E-B22C-0CC3BFF58B08}"/>
          </ac:spMkLst>
        </pc:spChg>
        <pc:spChg chg="add del mod">
          <ac:chgData name="Robert Groves" userId="18340ee5-2ee2-4523-a1bd-00715d104e64" providerId="ADAL" clId="{231B19FB-13C4-40F9-BA23-1964A90913D0}" dt="2023-10-23T14:11:09.168" v="6841" actId="478"/>
          <ac:spMkLst>
            <pc:docMk/>
            <pc:sldMk cId="1013597397" sldId="854"/>
            <ac:spMk id="10" creationId="{A0CE7DF3-0101-6096-E8C3-F4A167C45677}"/>
          </ac:spMkLst>
        </pc:spChg>
        <pc:spChg chg="add del mod">
          <ac:chgData name="Robert Groves" userId="18340ee5-2ee2-4523-a1bd-00715d104e64" providerId="ADAL" clId="{231B19FB-13C4-40F9-BA23-1964A90913D0}" dt="2023-10-23T14:11:09.168" v="6841" actId="478"/>
          <ac:spMkLst>
            <pc:docMk/>
            <pc:sldMk cId="1013597397" sldId="854"/>
            <ac:spMk id="11" creationId="{F34DEF88-938F-8D15-E7A8-085BBE94FA22}"/>
          </ac:spMkLst>
        </pc:spChg>
        <pc:spChg chg="add del mod">
          <ac:chgData name="Robert Groves" userId="18340ee5-2ee2-4523-a1bd-00715d104e64" providerId="ADAL" clId="{231B19FB-13C4-40F9-BA23-1964A90913D0}" dt="2023-10-23T14:11:09.168" v="6841" actId="478"/>
          <ac:spMkLst>
            <pc:docMk/>
            <pc:sldMk cId="1013597397" sldId="854"/>
            <ac:spMk id="12" creationId="{4485C64B-9884-57A5-4D8D-A20909E5A0CB}"/>
          </ac:spMkLst>
        </pc:spChg>
        <pc:spChg chg="add del mod">
          <ac:chgData name="Robert Groves" userId="18340ee5-2ee2-4523-a1bd-00715d104e64" providerId="ADAL" clId="{231B19FB-13C4-40F9-BA23-1964A90913D0}" dt="2023-10-23T14:11:09.168" v="6841" actId="478"/>
          <ac:spMkLst>
            <pc:docMk/>
            <pc:sldMk cId="1013597397" sldId="854"/>
            <ac:spMk id="13" creationId="{365FBD93-3D24-CB91-ECA2-3FA261323831}"/>
          </ac:spMkLst>
        </pc:spChg>
        <pc:spChg chg="add del mod">
          <ac:chgData name="Robert Groves" userId="18340ee5-2ee2-4523-a1bd-00715d104e64" providerId="ADAL" clId="{231B19FB-13C4-40F9-BA23-1964A90913D0}" dt="2023-10-23T14:11:09.168" v="6841" actId="478"/>
          <ac:spMkLst>
            <pc:docMk/>
            <pc:sldMk cId="1013597397" sldId="854"/>
            <ac:spMk id="14" creationId="{F9D43591-63F9-49B6-59B7-6DB3CEA7C321}"/>
          </ac:spMkLst>
        </pc:spChg>
        <pc:spChg chg="add del mod">
          <ac:chgData name="Robert Groves" userId="18340ee5-2ee2-4523-a1bd-00715d104e64" providerId="ADAL" clId="{231B19FB-13C4-40F9-BA23-1964A90913D0}" dt="2023-10-23T14:11:09.168" v="6841" actId="478"/>
          <ac:spMkLst>
            <pc:docMk/>
            <pc:sldMk cId="1013597397" sldId="854"/>
            <ac:spMk id="15" creationId="{7FE04271-8199-1C1D-39B7-897B03FF63A9}"/>
          </ac:spMkLst>
        </pc:spChg>
        <pc:spChg chg="add del mod">
          <ac:chgData name="Robert Groves" userId="18340ee5-2ee2-4523-a1bd-00715d104e64" providerId="ADAL" clId="{231B19FB-13C4-40F9-BA23-1964A90913D0}" dt="2023-10-23T14:11:09.168" v="6841" actId="478"/>
          <ac:spMkLst>
            <pc:docMk/>
            <pc:sldMk cId="1013597397" sldId="854"/>
            <ac:spMk id="16" creationId="{D4B2AA57-CC2B-042F-9DF9-C6112A9DB383}"/>
          </ac:spMkLst>
        </pc:spChg>
        <pc:spChg chg="add del mod">
          <ac:chgData name="Robert Groves" userId="18340ee5-2ee2-4523-a1bd-00715d104e64" providerId="ADAL" clId="{231B19FB-13C4-40F9-BA23-1964A90913D0}" dt="2023-10-23T14:11:09.168" v="6841" actId="478"/>
          <ac:spMkLst>
            <pc:docMk/>
            <pc:sldMk cId="1013597397" sldId="854"/>
            <ac:spMk id="17" creationId="{8DFB56D5-6265-181A-8B7A-E5CD83ED3563}"/>
          </ac:spMkLst>
        </pc:spChg>
        <pc:spChg chg="add del mod">
          <ac:chgData name="Robert Groves" userId="18340ee5-2ee2-4523-a1bd-00715d104e64" providerId="ADAL" clId="{231B19FB-13C4-40F9-BA23-1964A90913D0}" dt="2023-10-23T14:11:10.667" v="6842" actId="478"/>
          <ac:spMkLst>
            <pc:docMk/>
            <pc:sldMk cId="1013597397" sldId="854"/>
            <ac:spMk id="18" creationId="{FFDD6EA5-4EC0-2224-5EB2-C2ECDB73CFA3}"/>
          </ac:spMkLst>
        </pc:spChg>
        <pc:picChg chg="del">
          <ac:chgData name="Robert Groves" userId="18340ee5-2ee2-4523-a1bd-00715d104e64" providerId="ADAL" clId="{231B19FB-13C4-40F9-BA23-1964A90913D0}" dt="2023-10-23T14:10:20.981" v="6835" actId="478"/>
          <ac:picMkLst>
            <pc:docMk/>
            <pc:sldMk cId="1013597397" sldId="854"/>
            <ac:picMk id="2" creationId="{00000000-0000-0000-0000-000000000000}"/>
          </ac:picMkLst>
        </pc:picChg>
        <pc:cxnChg chg="add del mod">
          <ac:chgData name="Robert Groves" userId="18340ee5-2ee2-4523-a1bd-00715d104e64" providerId="ADAL" clId="{231B19FB-13C4-40F9-BA23-1964A90913D0}" dt="2023-10-23T14:11:36.123" v="6878" actId="478"/>
          <ac:cxnSpMkLst>
            <pc:docMk/>
            <pc:sldMk cId="1013597397" sldId="854"/>
            <ac:cxnSpMk id="3" creationId="{DCFBBBBB-FEA7-26D3-073A-C0D6E4B57632}"/>
          </ac:cxnSpMkLst>
        </pc:cxnChg>
        <pc:cxnChg chg="add del mod">
          <ac:chgData name="Robert Groves" userId="18340ee5-2ee2-4523-a1bd-00715d104e64" providerId="ADAL" clId="{231B19FB-13C4-40F9-BA23-1964A90913D0}" dt="2023-10-23T14:11:37.044" v="6879" actId="478"/>
          <ac:cxnSpMkLst>
            <pc:docMk/>
            <pc:sldMk cId="1013597397" sldId="854"/>
            <ac:cxnSpMk id="4" creationId="{3E38FB8B-903B-CD2F-3455-67571989CE96}"/>
          </ac:cxnSpMkLst>
        </pc:cxnChg>
      </pc:sldChg>
      <pc:sldChg chg="addSp delSp modSp add mod">
        <pc:chgData name="Robert Groves" userId="18340ee5-2ee2-4523-a1bd-00715d104e64" providerId="ADAL" clId="{231B19FB-13C4-40F9-BA23-1964A90913D0}" dt="2023-10-24T12:08:49.190" v="9388" actId="20577"/>
        <pc:sldMkLst>
          <pc:docMk/>
          <pc:sldMk cId="868915655" sldId="855"/>
        </pc:sldMkLst>
        <pc:spChg chg="add mod">
          <ac:chgData name="Robert Groves" userId="18340ee5-2ee2-4523-a1bd-00715d104e64" providerId="ADAL" clId="{231B19FB-13C4-40F9-BA23-1964A90913D0}" dt="2023-10-23T14:14:35.910" v="7135"/>
          <ac:spMkLst>
            <pc:docMk/>
            <pc:sldMk cId="868915655" sldId="855"/>
            <ac:spMk id="4" creationId="{87A82FBF-B6EB-0A78-A831-560D2238C6B9}"/>
          </ac:spMkLst>
        </pc:spChg>
        <pc:spChg chg="del">
          <ac:chgData name="Robert Groves" userId="18340ee5-2ee2-4523-a1bd-00715d104e64" providerId="ADAL" clId="{231B19FB-13C4-40F9-BA23-1964A90913D0}" dt="2023-10-23T14:11:45.308" v="6881" actId="478"/>
          <ac:spMkLst>
            <pc:docMk/>
            <pc:sldMk cId="868915655" sldId="855"/>
            <ac:spMk id="5" creationId="{52EBD7CB-CAB0-238B-96A4-71E2BBF45749}"/>
          </ac:spMkLst>
        </pc:spChg>
        <pc:spChg chg="del">
          <ac:chgData name="Robert Groves" userId="18340ee5-2ee2-4523-a1bd-00715d104e64" providerId="ADAL" clId="{231B19FB-13C4-40F9-BA23-1964A90913D0}" dt="2023-10-23T14:11:45.308" v="6881" actId="478"/>
          <ac:spMkLst>
            <pc:docMk/>
            <pc:sldMk cId="868915655" sldId="855"/>
            <ac:spMk id="6" creationId="{3C87C273-51ED-12B6-BDD7-7A28E31A4BF8}"/>
          </ac:spMkLst>
        </pc:spChg>
        <pc:graphicFrameChg chg="add mod modGraphic">
          <ac:chgData name="Robert Groves" userId="18340ee5-2ee2-4523-a1bd-00715d104e64" providerId="ADAL" clId="{231B19FB-13C4-40F9-BA23-1964A90913D0}" dt="2023-10-24T12:08:49.190" v="9388" actId="20577"/>
          <ac:graphicFrameMkLst>
            <pc:docMk/>
            <pc:sldMk cId="868915655" sldId="855"/>
            <ac:graphicFrameMk id="3" creationId="{CA6BBCD2-8BDC-5016-2873-F9024C417E7F}"/>
          </ac:graphicFrameMkLst>
        </pc:graphicFrameChg>
        <pc:picChg chg="del">
          <ac:chgData name="Robert Groves" userId="18340ee5-2ee2-4523-a1bd-00715d104e64" providerId="ADAL" clId="{231B19FB-13C4-40F9-BA23-1964A90913D0}" dt="2023-10-23T14:11:45.308" v="6881" actId="478"/>
          <ac:picMkLst>
            <pc:docMk/>
            <pc:sldMk cId="868915655" sldId="855"/>
            <ac:picMk id="2" creationId="{00000000-0000-0000-0000-000000000000}"/>
          </ac:picMkLst>
        </pc:picChg>
      </pc:sldChg>
      <pc:sldChg chg="addSp modSp add mod">
        <pc:chgData name="Robert Groves" userId="18340ee5-2ee2-4523-a1bd-00715d104e64" providerId="ADAL" clId="{231B19FB-13C4-40F9-BA23-1964A90913D0}" dt="2023-10-24T13:51:04.855" v="10732" actId="20577"/>
        <pc:sldMkLst>
          <pc:docMk/>
          <pc:sldMk cId="3729341280" sldId="856"/>
        </pc:sldMkLst>
        <pc:spChg chg="mod">
          <ac:chgData name="Robert Groves" userId="18340ee5-2ee2-4523-a1bd-00715d104e64" providerId="ADAL" clId="{231B19FB-13C4-40F9-BA23-1964A90913D0}" dt="2023-10-24T11:32:37.937" v="8363" actId="164"/>
          <ac:spMkLst>
            <pc:docMk/>
            <pc:sldMk cId="3729341280" sldId="856"/>
            <ac:spMk id="6" creationId="{80EDEDE6-62BF-59AC-D32D-EBA2CA68BE37}"/>
          </ac:spMkLst>
        </pc:spChg>
        <pc:spChg chg="mod">
          <ac:chgData name="Robert Groves" userId="18340ee5-2ee2-4523-a1bd-00715d104e64" providerId="ADAL" clId="{231B19FB-13C4-40F9-BA23-1964A90913D0}" dt="2023-10-24T11:34:11.527" v="8506" actId="1076"/>
          <ac:spMkLst>
            <pc:docMk/>
            <pc:sldMk cId="3729341280" sldId="856"/>
            <ac:spMk id="7" creationId="{4DA679D9-28C7-A1B3-F5D5-A9FD12A0CF16}"/>
          </ac:spMkLst>
        </pc:spChg>
        <pc:spChg chg="mod">
          <ac:chgData name="Robert Groves" userId="18340ee5-2ee2-4523-a1bd-00715d104e64" providerId="ADAL" clId="{231B19FB-13C4-40F9-BA23-1964A90913D0}" dt="2023-10-24T13:51:04.855" v="10732" actId="20577"/>
          <ac:spMkLst>
            <pc:docMk/>
            <pc:sldMk cId="3729341280" sldId="856"/>
            <ac:spMk id="8" creationId="{EB01AC4D-5059-D568-699E-D21D3E8BC53A}"/>
          </ac:spMkLst>
        </pc:spChg>
        <pc:grpChg chg="add mod ord">
          <ac:chgData name="Robert Groves" userId="18340ee5-2ee2-4523-a1bd-00715d104e64" providerId="ADAL" clId="{231B19FB-13C4-40F9-BA23-1964A90913D0}" dt="2023-10-24T11:32:49.131" v="8365" actId="167"/>
          <ac:grpSpMkLst>
            <pc:docMk/>
            <pc:sldMk cId="3729341280" sldId="856"/>
            <ac:grpSpMk id="2" creationId="{061011A3-D0FD-A7FF-8438-BC1CB4D25536}"/>
          </ac:grpSpMkLst>
        </pc:grpChg>
        <pc:picChg chg="mod">
          <ac:chgData name="Robert Groves" userId="18340ee5-2ee2-4523-a1bd-00715d104e64" providerId="ADAL" clId="{231B19FB-13C4-40F9-BA23-1964A90913D0}" dt="2023-10-24T11:32:37.937" v="8363" actId="164"/>
          <ac:picMkLst>
            <pc:docMk/>
            <pc:sldMk cId="3729341280" sldId="856"/>
            <ac:picMk id="9" creationId="{7CA8019B-74B8-65D5-5F51-8CC3EAF56F0F}"/>
          </ac:picMkLst>
        </pc:picChg>
      </pc:sldChg>
      <pc:sldChg chg="new del">
        <pc:chgData name="Robert Groves" userId="18340ee5-2ee2-4523-a1bd-00715d104e64" providerId="ADAL" clId="{231B19FB-13C4-40F9-BA23-1964A90913D0}" dt="2023-10-24T11:46:00.142" v="8662" actId="47"/>
        <pc:sldMkLst>
          <pc:docMk/>
          <pc:sldMk cId="692131196" sldId="857"/>
        </pc:sldMkLst>
      </pc:sldChg>
      <pc:sldChg chg="modSp add mod">
        <pc:chgData name="Robert Groves" userId="18340ee5-2ee2-4523-a1bd-00715d104e64" providerId="ADAL" clId="{231B19FB-13C4-40F9-BA23-1964A90913D0}" dt="2023-10-24T12:08:54.121" v="9389"/>
        <pc:sldMkLst>
          <pc:docMk/>
          <pc:sldMk cId="2756254436" sldId="857"/>
        </pc:sldMkLst>
        <pc:graphicFrameChg chg="mod modGraphic">
          <ac:chgData name="Robert Groves" userId="18340ee5-2ee2-4523-a1bd-00715d104e64" providerId="ADAL" clId="{231B19FB-13C4-40F9-BA23-1964A90913D0}" dt="2023-10-24T12:08:54.121" v="9389"/>
          <ac:graphicFrameMkLst>
            <pc:docMk/>
            <pc:sldMk cId="2756254436" sldId="857"/>
            <ac:graphicFrameMk id="3" creationId="{CA6BBCD2-8BDC-5016-2873-F9024C417E7F}"/>
          </ac:graphicFrameMkLst>
        </pc:graphicFrameChg>
      </pc:sldChg>
      <pc:sldChg chg="new del">
        <pc:chgData name="Robert Groves" userId="18340ee5-2ee2-4523-a1bd-00715d104e64" providerId="ADAL" clId="{231B19FB-13C4-40F9-BA23-1964A90913D0}" dt="2023-10-24T11:45:54.208" v="8660" actId="680"/>
        <pc:sldMkLst>
          <pc:docMk/>
          <pc:sldMk cId="4121702549" sldId="857"/>
        </pc:sldMkLst>
      </pc:sldChg>
      <pc:sldChg chg="delSp modSp add mod ord">
        <pc:chgData name="Robert Groves" userId="18340ee5-2ee2-4523-a1bd-00715d104e64" providerId="ADAL" clId="{231B19FB-13C4-40F9-BA23-1964A90913D0}" dt="2023-10-24T13:24:02.325" v="10480" actId="1076"/>
        <pc:sldMkLst>
          <pc:docMk/>
          <pc:sldMk cId="4091634358" sldId="858"/>
        </pc:sldMkLst>
        <pc:spChg chg="mod">
          <ac:chgData name="Robert Groves" userId="18340ee5-2ee2-4523-a1bd-00715d104e64" providerId="ADAL" clId="{231B19FB-13C4-40F9-BA23-1964A90913D0}" dt="2023-10-24T12:05:30.581" v="9299" actId="20577"/>
          <ac:spMkLst>
            <pc:docMk/>
            <pc:sldMk cId="4091634358" sldId="858"/>
            <ac:spMk id="4" creationId="{070DC908-3191-58D8-6655-620E2932D20E}"/>
          </ac:spMkLst>
        </pc:spChg>
        <pc:spChg chg="del">
          <ac:chgData name="Robert Groves" userId="18340ee5-2ee2-4523-a1bd-00715d104e64" providerId="ADAL" clId="{231B19FB-13C4-40F9-BA23-1964A90913D0}" dt="2023-10-24T13:18:22.322" v="10378" actId="478"/>
          <ac:spMkLst>
            <pc:docMk/>
            <pc:sldMk cId="4091634358" sldId="858"/>
            <ac:spMk id="13" creationId="{4110CF28-94E3-7BD5-FBD7-D0D47956A33C}"/>
          </ac:spMkLst>
        </pc:spChg>
        <pc:graphicFrameChg chg="mod">
          <ac:chgData name="Robert Groves" userId="18340ee5-2ee2-4523-a1bd-00715d104e64" providerId="ADAL" clId="{231B19FB-13C4-40F9-BA23-1964A90913D0}" dt="2023-10-24T13:24:02.325" v="10480" actId="1076"/>
          <ac:graphicFrameMkLst>
            <pc:docMk/>
            <pc:sldMk cId="4091634358" sldId="858"/>
            <ac:graphicFrameMk id="2" creationId="{7E8B1399-C6A6-DCF4-9880-58E21FA6B8CA}"/>
          </ac:graphicFrameMkLst>
        </pc:graphicFrameChg>
      </pc:sldChg>
      <pc:sldChg chg="delSp modSp add mod ord modCm">
        <pc:chgData name="Robert Groves" userId="18340ee5-2ee2-4523-a1bd-00715d104e64" providerId="ADAL" clId="{231B19FB-13C4-40F9-BA23-1964A90913D0}" dt="2023-10-25T10:37:35.149" v="11309" actId="14100"/>
        <pc:sldMkLst>
          <pc:docMk/>
          <pc:sldMk cId="1274688302" sldId="859"/>
        </pc:sldMkLst>
        <pc:spChg chg="mod">
          <ac:chgData name="Robert Groves" userId="18340ee5-2ee2-4523-a1bd-00715d104e64" providerId="ADAL" clId="{231B19FB-13C4-40F9-BA23-1964A90913D0}" dt="2023-10-24T12:09:01.367" v="9404" actId="20577"/>
          <ac:spMkLst>
            <pc:docMk/>
            <pc:sldMk cId="1274688302" sldId="859"/>
            <ac:spMk id="4" creationId="{070DC908-3191-58D8-6655-620E2932D20E}"/>
          </ac:spMkLst>
        </pc:spChg>
        <pc:spChg chg="del">
          <ac:chgData name="Robert Groves" userId="18340ee5-2ee2-4523-a1bd-00715d104e64" providerId="ADAL" clId="{231B19FB-13C4-40F9-BA23-1964A90913D0}" dt="2023-10-24T13:20:09.829" v="10468" actId="478"/>
          <ac:spMkLst>
            <pc:docMk/>
            <pc:sldMk cId="1274688302" sldId="859"/>
            <ac:spMk id="13" creationId="{4110CF28-94E3-7BD5-FBD7-D0D47956A33C}"/>
          </ac:spMkLst>
        </pc:spChg>
        <pc:graphicFrameChg chg="mod">
          <ac:chgData name="Robert Groves" userId="18340ee5-2ee2-4523-a1bd-00715d104e64" providerId="ADAL" clId="{231B19FB-13C4-40F9-BA23-1964A90913D0}" dt="2023-10-25T10:37:35.149" v="11309" actId="14100"/>
          <ac:graphicFrameMkLst>
            <pc:docMk/>
            <pc:sldMk cId="1274688302" sldId="859"/>
            <ac:graphicFrameMk id="2" creationId="{7E8B1399-C6A6-DCF4-9880-58E21FA6B8CA}"/>
          </ac:graphicFrameMkLst>
        </pc:graphicFrameChg>
        <pc:extLst>
          <p:ext xmlns:p="http://schemas.openxmlformats.org/presentationml/2006/main" uri="{D6D511B9-2390-475A-947B-AFAB55BFBCF1}">
            <pc226:cmChg xmlns:pc226="http://schemas.microsoft.com/office/powerpoint/2022/06/main/command" chg="">
              <pc226:chgData name="Robert Groves" userId="18340ee5-2ee2-4523-a1bd-00715d104e64" providerId="ADAL" clId="{231B19FB-13C4-40F9-BA23-1964A90913D0}" dt="2023-10-25T10:37:22.545" v="11287"/>
              <pc2:cmMkLst xmlns:pc2="http://schemas.microsoft.com/office/powerpoint/2019/9/main/command">
                <pc:docMk/>
                <pc:sldMk cId="1274688302" sldId="859"/>
                <pc2:cmMk id="{913316E9-3BAA-455C-9EF8-B8663AA95FF4}"/>
              </pc2:cmMkLst>
              <pc226:cmRplyChg chg="add">
                <pc226:chgData name="Robert Groves" userId="18340ee5-2ee2-4523-a1bd-00715d104e64" providerId="ADAL" clId="{231B19FB-13C4-40F9-BA23-1964A90913D0}" dt="2023-10-25T10:37:22.545" v="11287"/>
                <pc2:cmRplyMkLst xmlns:pc2="http://schemas.microsoft.com/office/powerpoint/2019/9/main/command">
                  <pc:docMk/>
                  <pc:sldMk cId="1274688302" sldId="859"/>
                  <pc2:cmMk id="{913316E9-3BAA-455C-9EF8-B8663AA95FF4}"/>
                  <pc2:cmRplyMk id="{E832B660-DB78-4135-9814-3A4A3994FABF}"/>
                </pc2:cmRplyMkLst>
              </pc226:cmRplyChg>
            </pc226:cmChg>
          </p:ext>
        </pc:extLst>
      </pc:sldChg>
      <pc:sldChg chg="modSp mod">
        <pc:chgData name="Robert Groves" userId="18340ee5-2ee2-4523-a1bd-00715d104e64" providerId="ADAL" clId="{231B19FB-13C4-40F9-BA23-1964A90913D0}" dt="2023-10-27T09:46:49.245" v="11385" actId="1076"/>
        <pc:sldMkLst>
          <pc:docMk/>
          <pc:sldMk cId="3680041809" sldId="861"/>
        </pc:sldMkLst>
        <pc:spChg chg="mod">
          <ac:chgData name="Robert Groves" userId="18340ee5-2ee2-4523-a1bd-00715d104e64" providerId="ADAL" clId="{231B19FB-13C4-40F9-BA23-1964A90913D0}" dt="2023-10-27T09:46:49.245" v="11385" actId="1076"/>
          <ac:spMkLst>
            <pc:docMk/>
            <pc:sldMk cId="3680041809" sldId="861"/>
            <ac:spMk id="13" creationId="{4110CF28-94E3-7BD5-FBD7-D0D47956A33C}"/>
          </ac:spMkLst>
        </pc:spChg>
      </pc:sldChg>
      <pc:sldChg chg="modSp add mod ord">
        <pc:chgData name="Robert Groves" userId="18340ee5-2ee2-4523-a1bd-00715d104e64" providerId="ADAL" clId="{231B19FB-13C4-40F9-BA23-1964A90913D0}" dt="2023-10-30T12:11:50.274" v="11466" actId="20577"/>
        <pc:sldMkLst>
          <pc:docMk/>
          <pc:sldMk cId="166497923" sldId="863"/>
        </pc:sldMkLst>
        <pc:spChg chg="mod">
          <ac:chgData name="Robert Groves" userId="18340ee5-2ee2-4523-a1bd-00715d104e64" providerId="ADAL" clId="{231B19FB-13C4-40F9-BA23-1964A90913D0}" dt="2023-10-30T12:11:50.274" v="11466" actId="20577"/>
          <ac:spMkLst>
            <pc:docMk/>
            <pc:sldMk cId="166497923" sldId="863"/>
            <ac:spMk id="7" creationId="{F0E78806-A03B-0FBE-97E3-82CBD067D0C8}"/>
          </ac:spMkLst>
        </pc:spChg>
      </pc:sldChg>
      <pc:sldChg chg="modSp add mod ord">
        <pc:chgData name="Robert Groves" userId="18340ee5-2ee2-4523-a1bd-00715d104e64" providerId="ADAL" clId="{231B19FB-13C4-40F9-BA23-1964A90913D0}" dt="2023-10-30T12:13:36.527" v="11500" actId="1076"/>
        <pc:sldMkLst>
          <pc:docMk/>
          <pc:sldMk cId="1233798305" sldId="864"/>
        </pc:sldMkLst>
        <pc:spChg chg="mod">
          <ac:chgData name="Robert Groves" userId="18340ee5-2ee2-4523-a1bd-00715d104e64" providerId="ADAL" clId="{231B19FB-13C4-40F9-BA23-1964A90913D0}" dt="2023-10-30T12:13:36.527" v="11500" actId="1076"/>
          <ac:spMkLst>
            <pc:docMk/>
            <pc:sldMk cId="1233798305" sldId="864"/>
            <ac:spMk id="2" creationId="{C75C9AC6-E8D4-81F8-873B-2AD9102C63CC}"/>
          </ac:spMkLst>
        </pc:spChg>
        <pc:spChg chg="mod">
          <ac:chgData name="Robert Groves" userId="18340ee5-2ee2-4523-a1bd-00715d104e64" providerId="ADAL" clId="{231B19FB-13C4-40F9-BA23-1964A90913D0}" dt="2023-10-30T12:12:00.929" v="11472" actId="20577"/>
          <ac:spMkLst>
            <pc:docMk/>
            <pc:sldMk cId="1233798305" sldId="864"/>
            <ac:spMk id="9" creationId="{24FD1763-E64D-4529-0D89-4F515C46659E}"/>
          </ac:spMkLst>
        </pc:spChg>
      </pc:sldChg>
      <pc:sldChg chg="modSp mod">
        <pc:chgData name="Robert Groves" userId="18340ee5-2ee2-4523-a1bd-00715d104e64" providerId="ADAL" clId="{231B19FB-13C4-40F9-BA23-1964A90913D0}" dt="2023-10-30T14:42:39.296" v="11509" actId="1076"/>
        <pc:sldMkLst>
          <pc:docMk/>
          <pc:sldMk cId="6177442" sldId="867"/>
        </pc:sldMkLst>
        <pc:spChg chg="mod">
          <ac:chgData name="Robert Groves" userId="18340ee5-2ee2-4523-a1bd-00715d104e64" providerId="ADAL" clId="{231B19FB-13C4-40F9-BA23-1964A90913D0}" dt="2023-10-30T14:42:39.296" v="11509" actId="1076"/>
          <ac:spMkLst>
            <pc:docMk/>
            <pc:sldMk cId="6177442" sldId="867"/>
            <ac:spMk id="13" creationId="{4110CF28-94E3-7BD5-FBD7-D0D47956A33C}"/>
          </ac:spMkLst>
        </pc:spChg>
        <pc:graphicFrameChg chg="mod">
          <ac:chgData name="Robert Groves" userId="18340ee5-2ee2-4523-a1bd-00715d104e64" providerId="ADAL" clId="{231B19FB-13C4-40F9-BA23-1964A90913D0}" dt="2023-10-30T14:42:36.195" v="11508" actId="1076"/>
          <ac:graphicFrameMkLst>
            <pc:docMk/>
            <pc:sldMk cId="6177442" sldId="867"/>
            <ac:graphicFrameMk id="2" creationId="{7E8B1399-C6A6-DCF4-9880-58E21FA6B8CA}"/>
          </ac:graphicFrameMkLst>
        </pc:graphicFrameChg>
      </pc:sldChg>
      <pc:sldMasterChg chg="del delSldLayout">
        <pc:chgData name="Robert Groves" userId="18340ee5-2ee2-4523-a1bd-00715d104e64" providerId="ADAL" clId="{231B19FB-13C4-40F9-BA23-1964A90913D0}" dt="2023-10-21T13:17:15.594" v="1" actId="47"/>
        <pc:sldMasterMkLst>
          <pc:docMk/>
          <pc:sldMasterMk cId="1448064908" sldId="2147484237"/>
        </pc:sldMasterMkLst>
        <pc:sldLayoutChg chg="del">
          <pc:chgData name="Robert Groves" userId="18340ee5-2ee2-4523-a1bd-00715d104e64" providerId="ADAL" clId="{231B19FB-13C4-40F9-BA23-1964A90913D0}" dt="2023-10-21T13:17:15.594" v="1" actId="47"/>
          <pc:sldLayoutMkLst>
            <pc:docMk/>
            <pc:sldMasterMk cId="1448064908" sldId="2147484237"/>
            <pc:sldLayoutMk cId="180954524" sldId="2147484238"/>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4195215241" sldId="2147484239"/>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3091617221" sldId="2147484240"/>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3847419400" sldId="2147484241"/>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2844537495" sldId="2147484242"/>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2160956462" sldId="2147484243"/>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723485414" sldId="2147484244"/>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4186165228" sldId="2147484245"/>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1472360612" sldId="2147484246"/>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3356647998" sldId="2147484247"/>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1881584765" sldId="2147484248"/>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1779911648" sldId="2147484249"/>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3327236165" sldId="2147484250"/>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3131088832" sldId="2147484251"/>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3833694302" sldId="2147484252"/>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2426141615" sldId="2147484253"/>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939354018" sldId="2147484254"/>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215676459" sldId="2147484255"/>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1089556699" sldId="2147484256"/>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1065652133" sldId="2147484257"/>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433553157" sldId="2147484258"/>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2888610153" sldId="2147484259"/>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2833152418" sldId="2147484260"/>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3132014506" sldId="2147484261"/>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3094863362" sldId="2147484262"/>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1110235545" sldId="2147484263"/>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2156749232" sldId="2147484264"/>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2103254743" sldId="2147484265"/>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1743618526" sldId="2147484266"/>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1235466176" sldId="2147484267"/>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956858935" sldId="2147484268"/>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2047117640" sldId="2147484269"/>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729722217" sldId="2147484270"/>
          </pc:sldLayoutMkLst>
        </pc:sldLayoutChg>
        <pc:sldLayoutChg chg="del">
          <pc:chgData name="Robert Groves" userId="18340ee5-2ee2-4523-a1bd-00715d104e64" providerId="ADAL" clId="{231B19FB-13C4-40F9-BA23-1964A90913D0}" dt="2023-10-21T13:17:15.594" v="1" actId="47"/>
          <pc:sldLayoutMkLst>
            <pc:docMk/>
            <pc:sldMasterMk cId="1448064908" sldId="2147484237"/>
            <pc:sldLayoutMk cId="182407229" sldId="2147484271"/>
          </pc:sldLayoutMkLst>
        </pc:sldLayoutChg>
      </pc:sldMasterChg>
    </pc:docChg>
  </pc:docChgLst>
  <pc:docChgLst>
    <pc:chgData name="Hamish Stout" userId="S::hamish.stout@scouts.org.uk::15f0d1f2-19d0-420e-bacb-e7d8d634b31c" providerId="AD" clId="Web-{861ADFCF-6997-749B-D483-966B2859022A}"/>
    <pc:docChg chg="">
      <pc:chgData name="Hamish Stout" userId="S::hamish.stout@scouts.org.uk::15f0d1f2-19d0-420e-bacb-e7d8d634b31c" providerId="AD" clId="Web-{861ADFCF-6997-749B-D483-966B2859022A}" dt="2023-10-25T10:46:28.215" v="0"/>
      <pc:docMkLst>
        <pc:docMk/>
      </pc:docMkLst>
      <pc:sldChg chg="modCm">
        <pc:chgData name="Hamish Stout" userId="S::hamish.stout@scouts.org.uk::15f0d1f2-19d0-420e-bacb-e7d8d634b31c" providerId="AD" clId="Web-{861ADFCF-6997-749B-D483-966B2859022A}" dt="2023-10-25T10:46:28.215" v="0"/>
        <pc:sldMkLst>
          <pc:docMk/>
          <pc:sldMk cId="619815647" sldId="330"/>
        </pc:sldMkLst>
        <pc:extLst>
          <p:ext xmlns:p="http://schemas.openxmlformats.org/presentationml/2006/main" uri="{D6D511B9-2390-475A-947B-AFAB55BFBCF1}">
            <pc226:cmChg xmlns:pc226="http://schemas.microsoft.com/office/powerpoint/2022/06/main/command" chg="">
              <pc226:chgData name="Hamish Stout" userId="S::hamish.stout@scouts.org.uk::15f0d1f2-19d0-420e-bacb-e7d8d634b31c" providerId="AD" clId="Web-{861ADFCF-6997-749B-D483-966B2859022A}" dt="2023-10-25T10:46:28.215" v="0"/>
              <pc2:cmMkLst xmlns:pc2="http://schemas.microsoft.com/office/powerpoint/2019/9/main/command">
                <pc:docMk/>
                <pc:sldMk cId="619815647" sldId="330"/>
                <pc2:cmMk id="{36529484-C383-405E-90B9-790DF0DAC405}"/>
              </pc2:cmMkLst>
              <pc226:cmRplyChg chg="add">
                <pc226:chgData name="Hamish Stout" userId="S::hamish.stout@scouts.org.uk::15f0d1f2-19d0-420e-bacb-e7d8d634b31c" providerId="AD" clId="Web-{861ADFCF-6997-749B-D483-966B2859022A}" dt="2023-10-25T10:46:28.215" v="0"/>
                <pc2:cmRplyMkLst xmlns:pc2="http://schemas.microsoft.com/office/powerpoint/2019/9/main/command">
                  <pc:docMk/>
                  <pc:sldMk cId="619815647" sldId="330"/>
                  <pc2:cmMk id="{36529484-C383-405E-90B9-790DF0DAC405}"/>
                  <pc2:cmRplyMk id="{71C2C8CC-D3FD-4C5A-B7F4-F8CC7E46BA4D}"/>
                </pc2:cmRplyMkLst>
              </pc226:cmRplyChg>
            </pc226:cmChg>
          </p:ext>
        </pc:ext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8002D6A-0C88-4ACB-8347-7791A957725E}" type="doc">
      <dgm:prSet loTypeId="urn:microsoft.com/office/officeart/2005/8/layout/process1" loCatId="process" qsTypeId="urn:microsoft.com/office/officeart/2005/8/quickstyle/simple1" qsCatId="simple" csTypeId="urn:microsoft.com/office/officeart/2005/8/colors/accent0_2" csCatId="mainScheme" phldr="1"/>
      <dgm:spPr/>
    </dgm:pt>
    <dgm:pt modelId="{08E664FB-C5CB-44FA-B432-E45E5913DFD1}">
      <dgm:prSet phldrT="[Text]"/>
      <dgm:spPr/>
      <dgm:t>
        <a:bodyPr/>
        <a:lstStyle/>
        <a:p>
          <a:r>
            <a:rPr lang="en-GB"/>
            <a:t>Volunteer applies for permit through system, including selecting assessor, attaching supporting documentation</a:t>
          </a:r>
        </a:p>
      </dgm:t>
    </dgm:pt>
    <dgm:pt modelId="{ECAFCE0C-BDEC-49AF-B365-63BE7BEAE05F}" type="parTrans" cxnId="{D6D3F545-6AAC-495F-AE73-F826A4E3E459}">
      <dgm:prSet/>
      <dgm:spPr/>
      <dgm:t>
        <a:bodyPr/>
        <a:lstStyle/>
        <a:p>
          <a:endParaRPr lang="en-GB"/>
        </a:p>
      </dgm:t>
    </dgm:pt>
    <dgm:pt modelId="{94F162BC-C234-44A6-BB21-377A3A804FB0}" type="sibTrans" cxnId="{D6D3F545-6AAC-495F-AE73-F826A4E3E459}">
      <dgm:prSet/>
      <dgm:spPr/>
      <dgm:t>
        <a:bodyPr/>
        <a:lstStyle/>
        <a:p>
          <a:endParaRPr lang="en-GB"/>
        </a:p>
      </dgm:t>
    </dgm:pt>
    <dgm:pt modelId="{EE6A13BB-434D-48CE-9FFA-4EFFF5F4B754}">
      <dgm:prSet phldrT="[Text]"/>
      <dgm:spPr/>
      <dgm:t>
        <a:bodyPr/>
        <a:lstStyle/>
        <a:p>
          <a:r>
            <a:rPr lang="en-GB"/>
            <a:t>Selected assessor carries out technical assessment and confirms Scout rules knowledge</a:t>
          </a:r>
        </a:p>
      </dgm:t>
    </dgm:pt>
    <dgm:pt modelId="{2F5D37B1-4006-4E6D-A6C0-D10BEF8C7F56}" type="parTrans" cxnId="{A13D37FC-0795-4CA7-8660-7DDB68D4FBF4}">
      <dgm:prSet/>
      <dgm:spPr/>
      <dgm:t>
        <a:bodyPr/>
        <a:lstStyle/>
        <a:p>
          <a:endParaRPr lang="en-GB"/>
        </a:p>
      </dgm:t>
    </dgm:pt>
    <dgm:pt modelId="{0214A204-05B4-4542-B3CD-DC938951D730}" type="sibTrans" cxnId="{A13D37FC-0795-4CA7-8660-7DDB68D4FBF4}">
      <dgm:prSet/>
      <dgm:spPr/>
      <dgm:t>
        <a:bodyPr/>
        <a:lstStyle/>
        <a:p>
          <a:endParaRPr lang="en-GB"/>
        </a:p>
      </dgm:t>
    </dgm:pt>
    <dgm:pt modelId="{4DCC442E-B802-4669-A4D2-7C744261F497}">
      <dgm:prSet phldrT="[Text]"/>
      <dgm:spPr/>
      <dgm:t>
        <a:bodyPr/>
        <a:lstStyle/>
        <a:p>
          <a:r>
            <a:rPr lang="en-GB"/>
            <a:t>Technical assessment is recorded on system</a:t>
          </a:r>
        </a:p>
      </dgm:t>
    </dgm:pt>
    <dgm:pt modelId="{43F6DCA4-44A6-4605-A61E-D4478F2F5913}" type="parTrans" cxnId="{A111DFEB-BAC8-4F42-8EF4-EA6411A27226}">
      <dgm:prSet/>
      <dgm:spPr/>
      <dgm:t>
        <a:bodyPr/>
        <a:lstStyle/>
        <a:p>
          <a:endParaRPr lang="en-GB"/>
        </a:p>
      </dgm:t>
    </dgm:pt>
    <dgm:pt modelId="{8222208C-F9CD-4E23-8BB0-6130A01A71FD}" type="sibTrans" cxnId="{A111DFEB-BAC8-4F42-8EF4-EA6411A27226}">
      <dgm:prSet/>
      <dgm:spPr/>
      <dgm:t>
        <a:bodyPr/>
        <a:lstStyle/>
        <a:p>
          <a:endParaRPr lang="en-GB"/>
        </a:p>
      </dgm:t>
    </dgm:pt>
    <dgm:pt modelId="{ACAA8BB1-AB41-4124-AD07-BA868CF8C6E0}">
      <dgm:prSet phldrT="[Text]"/>
      <dgm:spPr/>
      <dgm:t>
        <a:bodyPr/>
        <a:lstStyle/>
        <a:p>
          <a:r>
            <a:rPr lang="en-GB"/>
            <a:t>Lead Volunteer or accredited person approves permit on system after confirming personal suitability </a:t>
          </a:r>
        </a:p>
      </dgm:t>
    </dgm:pt>
    <dgm:pt modelId="{70F2778A-65C7-41BC-A7F1-4A89AD6AB862}" type="parTrans" cxnId="{E2E6FE2C-3AB5-42C4-9838-E9C2F16650DB}">
      <dgm:prSet/>
      <dgm:spPr/>
      <dgm:t>
        <a:bodyPr/>
        <a:lstStyle/>
        <a:p>
          <a:endParaRPr lang="en-GB"/>
        </a:p>
      </dgm:t>
    </dgm:pt>
    <dgm:pt modelId="{91C0AB84-FC5F-414D-9428-4508F1396B90}" type="sibTrans" cxnId="{E2E6FE2C-3AB5-42C4-9838-E9C2F16650DB}">
      <dgm:prSet/>
      <dgm:spPr/>
      <dgm:t>
        <a:bodyPr/>
        <a:lstStyle/>
        <a:p>
          <a:endParaRPr lang="en-GB"/>
        </a:p>
      </dgm:t>
    </dgm:pt>
    <dgm:pt modelId="{0A7C1DAC-E1A3-451B-8353-83779A5614BB}" type="pres">
      <dgm:prSet presAssocID="{E8002D6A-0C88-4ACB-8347-7791A957725E}" presName="Name0" presStyleCnt="0">
        <dgm:presLayoutVars>
          <dgm:dir/>
          <dgm:resizeHandles val="exact"/>
        </dgm:presLayoutVars>
      </dgm:prSet>
      <dgm:spPr/>
    </dgm:pt>
    <dgm:pt modelId="{29417C91-6FA9-47F2-99D0-D02991635E78}" type="pres">
      <dgm:prSet presAssocID="{08E664FB-C5CB-44FA-B432-E45E5913DFD1}" presName="node" presStyleLbl="node1" presStyleIdx="0" presStyleCnt="4" custLinFactNeighborX="1444" custLinFactNeighborY="-22517">
        <dgm:presLayoutVars>
          <dgm:bulletEnabled val="1"/>
        </dgm:presLayoutVars>
      </dgm:prSet>
      <dgm:spPr/>
    </dgm:pt>
    <dgm:pt modelId="{0F0126AF-AAB7-4CB7-AECF-A04D12C56C5E}" type="pres">
      <dgm:prSet presAssocID="{94F162BC-C234-44A6-BB21-377A3A804FB0}" presName="sibTrans" presStyleLbl="sibTrans2D1" presStyleIdx="0" presStyleCnt="3"/>
      <dgm:spPr/>
    </dgm:pt>
    <dgm:pt modelId="{0E7BDC97-DE90-4DF3-BF1D-C91EC6D5C55B}" type="pres">
      <dgm:prSet presAssocID="{94F162BC-C234-44A6-BB21-377A3A804FB0}" presName="connectorText" presStyleLbl="sibTrans2D1" presStyleIdx="0" presStyleCnt="3"/>
      <dgm:spPr/>
    </dgm:pt>
    <dgm:pt modelId="{639CFCE5-FAF0-419E-8E75-8797FA8C8C28}" type="pres">
      <dgm:prSet presAssocID="{EE6A13BB-434D-48CE-9FFA-4EFFF5F4B754}" presName="node" presStyleLbl="node1" presStyleIdx="1" presStyleCnt="4" custLinFactNeighborX="1444" custLinFactNeighborY="-22517">
        <dgm:presLayoutVars>
          <dgm:bulletEnabled val="1"/>
        </dgm:presLayoutVars>
      </dgm:prSet>
      <dgm:spPr/>
    </dgm:pt>
    <dgm:pt modelId="{35B837E2-F2C9-4C99-98AC-A39D588F9264}" type="pres">
      <dgm:prSet presAssocID="{0214A204-05B4-4542-B3CD-DC938951D730}" presName="sibTrans" presStyleLbl="sibTrans2D1" presStyleIdx="1" presStyleCnt="3"/>
      <dgm:spPr/>
    </dgm:pt>
    <dgm:pt modelId="{E4896CD6-45AF-4923-84A3-423025B93E2F}" type="pres">
      <dgm:prSet presAssocID="{0214A204-05B4-4542-B3CD-DC938951D730}" presName="connectorText" presStyleLbl="sibTrans2D1" presStyleIdx="1" presStyleCnt="3"/>
      <dgm:spPr/>
    </dgm:pt>
    <dgm:pt modelId="{4E02BE46-C631-478C-8172-4FF67ACF4F5C}" type="pres">
      <dgm:prSet presAssocID="{4DCC442E-B802-4669-A4D2-7C744261F497}" presName="node" presStyleLbl="node1" presStyleIdx="2" presStyleCnt="4" custLinFactNeighborX="1444" custLinFactNeighborY="-22517">
        <dgm:presLayoutVars>
          <dgm:bulletEnabled val="1"/>
        </dgm:presLayoutVars>
      </dgm:prSet>
      <dgm:spPr/>
    </dgm:pt>
    <dgm:pt modelId="{A6F29520-B477-4C31-BCFF-39D9AFF60BB4}" type="pres">
      <dgm:prSet presAssocID="{8222208C-F9CD-4E23-8BB0-6130A01A71FD}" presName="sibTrans" presStyleLbl="sibTrans2D1" presStyleIdx="2" presStyleCnt="3"/>
      <dgm:spPr/>
    </dgm:pt>
    <dgm:pt modelId="{CC878317-7A2A-4DF0-B1E1-FECD444AD1FF}" type="pres">
      <dgm:prSet presAssocID="{8222208C-F9CD-4E23-8BB0-6130A01A71FD}" presName="connectorText" presStyleLbl="sibTrans2D1" presStyleIdx="2" presStyleCnt="3"/>
      <dgm:spPr/>
    </dgm:pt>
    <dgm:pt modelId="{91724BA9-D402-4EB5-9B21-7FF3BB0CC679}" type="pres">
      <dgm:prSet presAssocID="{ACAA8BB1-AB41-4124-AD07-BA868CF8C6E0}" presName="node" presStyleLbl="node1" presStyleIdx="3" presStyleCnt="4" custLinFactNeighborX="1444" custLinFactNeighborY="-22517">
        <dgm:presLayoutVars>
          <dgm:bulletEnabled val="1"/>
        </dgm:presLayoutVars>
      </dgm:prSet>
      <dgm:spPr/>
    </dgm:pt>
  </dgm:ptLst>
  <dgm:cxnLst>
    <dgm:cxn modelId="{82350308-D9C8-40AA-AD35-088FFFAFF1AD}" type="presOf" srcId="{08E664FB-C5CB-44FA-B432-E45E5913DFD1}" destId="{29417C91-6FA9-47F2-99D0-D02991635E78}" srcOrd="0" destOrd="0" presId="urn:microsoft.com/office/officeart/2005/8/layout/process1"/>
    <dgm:cxn modelId="{08004D0C-C637-4F6D-8B64-4134B3873791}" type="presOf" srcId="{4DCC442E-B802-4669-A4D2-7C744261F497}" destId="{4E02BE46-C631-478C-8172-4FF67ACF4F5C}" srcOrd="0" destOrd="0" presId="urn:microsoft.com/office/officeart/2005/8/layout/process1"/>
    <dgm:cxn modelId="{3034540D-3B08-45C5-8362-BA43D04E6EA7}" type="presOf" srcId="{8222208C-F9CD-4E23-8BB0-6130A01A71FD}" destId="{A6F29520-B477-4C31-BCFF-39D9AFF60BB4}" srcOrd="0" destOrd="0" presId="urn:microsoft.com/office/officeart/2005/8/layout/process1"/>
    <dgm:cxn modelId="{5F284C10-4341-4D38-90ED-F5DFC82D86B9}" type="presOf" srcId="{ACAA8BB1-AB41-4124-AD07-BA868CF8C6E0}" destId="{91724BA9-D402-4EB5-9B21-7FF3BB0CC679}" srcOrd="0" destOrd="0" presId="urn:microsoft.com/office/officeart/2005/8/layout/process1"/>
    <dgm:cxn modelId="{19BFDD2C-3F42-495C-97C8-6E357B39C263}" type="presOf" srcId="{0214A204-05B4-4542-B3CD-DC938951D730}" destId="{E4896CD6-45AF-4923-84A3-423025B93E2F}" srcOrd="1" destOrd="0" presId="urn:microsoft.com/office/officeart/2005/8/layout/process1"/>
    <dgm:cxn modelId="{E2E6FE2C-3AB5-42C4-9838-E9C2F16650DB}" srcId="{E8002D6A-0C88-4ACB-8347-7791A957725E}" destId="{ACAA8BB1-AB41-4124-AD07-BA868CF8C6E0}" srcOrd="3" destOrd="0" parTransId="{70F2778A-65C7-41BC-A7F1-4A89AD6AB862}" sibTransId="{91C0AB84-FC5F-414D-9428-4508F1396B90}"/>
    <dgm:cxn modelId="{40CE7137-96A5-4D14-9E06-00E96AE457D3}" type="presOf" srcId="{0214A204-05B4-4542-B3CD-DC938951D730}" destId="{35B837E2-F2C9-4C99-98AC-A39D588F9264}" srcOrd="0" destOrd="0" presId="urn:microsoft.com/office/officeart/2005/8/layout/process1"/>
    <dgm:cxn modelId="{D6D3F545-6AAC-495F-AE73-F826A4E3E459}" srcId="{E8002D6A-0C88-4ACB-8347-7791A957725E}" destId="{08E664FB-C5CB-44FA-B432-E45E5913DFD1}" srcOrd="0" destOrd="0" parTransId="{ECAFCE0C-BDEC-49AF-B365-63BE7BEAE05F}" sibTransId="{94F162BC-C234-44A6-BB21-377A3A804FB0}"/>
    <dgm:cxn modelId="{AD8C064A-3FFB-4C42-824B-8CA1576D0330}" type="presOf" srcId="{EE6A13BB-434D-48CE-9FFA-4EFFF5F4B754}" destId="{639CFCE5-FAF0-419E-8E75-8797FA8C8C28}" srcOrd="0" destOrd="0" presId="urn:microsoft.com/office/officeart/2005/8/layout/process1"/>
    <dgm:cxn modelId="{1B5E7D8C-9FC6-4714-BDCA-DF3FF8C70E43}" type="presOf" srcId="{94F162BC-C234-44A6-BB21-377A3A804FB0}" destId="{0E7BDC97-DE90-4DF3-BF1D-C91EC6D5C55B}" srcOrd="1" destOrd="0" presId="urn:microsoft.com/office/officeart/2005/8/layout/process1"/>
    <dgm:cxn modelId="{822B158D-B318-45F6-8AD0-6A3A67E33533}" type="presOf" srcId="{E8002D6A-0C88-4ACB-8347-7791A957725E}" destId="{0A7C1DAC-E1A3-451B-8353-83779A5614BB}" srcOrd="0" destOrd="0" presId="urn:microsoft.com/office/officeart/2005/8/layout/process1"/>
    <dgm:cxn modelId="{F64945C4-FC07-4602-AB3F-43EDC58CEF2A}" type="presOf" srcId="{8222208C-F9CD-4E23-8BB0-6130A01A71FD}" destId="{CC878317-7A2A-4DF0-B1E1-FECD444AD1FF}" srcOrd="1" destOrd="0" presId="urn:microsoft.com/office/officeart/2005/8/layout/process1"/>
    <dgm:cxn modelId="{A111DFEB-BAC8-4F42-8EF4-EA6411A27226}" srcId="{E8002D6A-0C88-4ACB-8347-7791A957725E}" destId="{4DCC442E-B802-4669-A4D2-7C744261F497}" srcOrd="2" destOrd="0" parTransId="{43F6DCA4-44A6-4605-A61E-D4478F2F5913}" sibTransId="{8222208C-F9CD-4E23-8BB0-6130A01A71FD}"/>
    <dgm:cxn modelId="{21B410F3-2AF4-4889-91E6-9CB6841675DC}" type="presOf" srcId="{94F162BC-C234-44A6-BB21-377A3A804FB0}" destId="{0F0126AF-AAB7-4CB7-AECF-A04D12C56C5E}" srcOrd="0" destOrd="0" presId="urn:microsoft.com/office/officeart/2005/8/layout/process1"/>
    <dgm:cxn modelId="{A13D37FC-0795-4CA7-8660-7DDB68D4FBF4}" srcId="{E8002D6A-0C88-4ACB-8347-7791A957725E}" destId="{EE6A13BB-434D-48CE-9FFA-4EFFF5F4B754}" srcOrd="1" destOrd="0" parTransId="{2F5D37B1-4006-4E6D-A6C0-D10BEF8C7F56}" sibTransId="{0214A204-05B4-4542-B3CD-DC938951D730}"/>
    <dgm:cxn modelId="{56FABB07-9B99-4D1A-BB63-81F9F7DA6E01}" type="presParOf" srcId="{0A7C1DAC-E1A3-451B-8353-83779A5614BB}" destId="{29417C91-6FA9-47F2-99D0-D02991635E78}" srcOrd="0" destOrd="0" presId="urn:microsoft.com/office/officeart/2005/8/layout/process1"/>
    <dgm:cxn modelId="{1F85FA4D-5CF6-4ECB-9F8D-0CDDC3910E64}" type="presParOf" srcId="{0A7C1DAC-E1A3-451B-8353-83779A5614BB}" destId="{0F0126AF-AAB7-4CB7-AECF-A04D12C56C5E}" srcOrd="1" destOrd="0" presId="urn:microsoft.com/office/officeart/2005/8/layout/process1"/>
    <dgm:cxn modelId="{276E738E-5DD9-4F57-ADAB-F3C321B84CD1}" type="presParOf" srcId="{0F0126AF-AAB7-4CB7-AECF-A04D12C56C5E}" destId="{0E7BDC97-DE90-4DF3-BF1D-C91EC6D5C55B}" srcOrd="0" destOrd="0" presId="urn:microsoft.com/office/officeart/2005/8/layout/process1"/>
    <dgm:cxn modelId="{E4E3F542-B118-4DEF-A846-C7DB49E4D7E9}" type="presParOf" srcId="{0A7C1DAC-E1A3-451B-8353-83779A5614BB}" destId="{639CFCE5-FAF0-419E-8E75-8797FA8C8C28}" srcOrd="2" destOrd="0" presId="urn:microsoft.com/office/officeart/2005/8/layout/process1"/>
    <dgm:cxn modelId="{27D1D9A5-E753-47DB-AB59-BA31140C011E}" type="presParOf" srcId="{0A7C1DAC-E1A3-451B-8353-83779A5614BB}" destId="{35B837E2-F2C9-4C99-98AC-A39D588F9264}" srcOrd="3" destOrd="0" presId="urn:microsoft.com/office/officeart/2005/8/layout/process1"/>
    <dgm:cxn modelId="{2EDE4BB9-03D9-44F6-A1F8-EC17F28B283F}" type="presParOf" srcId="{35B837E2-F2C9-4C99-98AC-A39D588F9264}" destId="{E4896CD6-45AF-4923-84A3-423025B93E2F}" srcOrd="0" destOrd="0" presId="urn:microsoft.com/office/officeart/2005/8/layout/process1"/>
    <dgm:cxn modelId="{1F09885F-E44B-4D3E-9FD9-A5D60FFA81CC}" type="presParOf" srcId="{0A7C1DAC-E1A3-451B-8353-83779A5614BB}" destId="{4E02BE46-C631-478C-8172-4FF67ACF4F5C}" srcOrd="4" destOrd="0" presId="urn:microsoft.com/office/officeart/2005/8/layout/process1"/>
    <dgm:cxn modelId="{2B2D026E-7CF9-4153-9327-550CF193AC2E}" type="presParOf" srcId="{0A7C1DAC-E1A3-451B-8353-83779A5614BB}" destId="{A6F29520-B477-4C31-BCFF-39D9AFF60BB4}" srcOrd="5" destOrd="0" presId="urn:microsoft.com/office/officeart/2005/8/layout/process1"/>
    <dgm:cxn modelId="{75799FB8-27AF-4A17-94DF-E2444049B21E}" type="presParOf" srcId="{A6F29520-B477-4C31-BCFF-39D9AFF60BB4}" destId="{CC878317-7A2A-4DF0-B1E1-FECD444AD1FF}" srcOrd="0" destOrd="0" presId="urn:microsoft.com/office/officeart/2005/8/layout/process1"/>
    <dgm:cxn modelId="{2D14C87B-6B5E-4B33-BA18-8D9E7ED8AB8D}" type="presParOf" srcId="{0A7C1DAC-E1A3-451B-8353-83779A5614BB}" destId="{91724BA9-D402-4EB5-9B21-7FF3BB0CC679}"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8002D6A-0C88-4ACB-8347-7791A957725E}" type="doc">
      <dgm:prSet loTypeId="urn:microsoft.com/office/officeart/2005/8/layout/process1" loCatId="process" qsTypeId="urn:microsoft.com/office/officeart/2005/8/quickstyle/simple1" qsCatId="simple" csTypeId="urn:microsoft.com/office/officeart/2005/8/colors/accent0_2" csCatId="mainScheme" phldr="1"/>
      <dgm:spPr/>
    </dgm:pt>
    <dgm:pt modelId="{08E664FB-C5CB-44FA-B432-E45E5913DFD1}">
      <dgm:prSet phldrT="[Text]"/>
      <dgm:spPr>
        <a:solidFill>
          <a:schemeClr val="accent6">
            <a:lumMod val="60000"/>
            <a:lumOff val="40000"/>
          </a:schemeClr>
        </a:solidFill>
      </dgm:spPr>
      <dgm:t>
        <a:bodyPr/>
        <a:lstStyle/>
        <a:p>
          <a:r>
            <a:rPr lang="en-GB"/>
            <a:t>Volunteer applies for permit through system, including selecting assessor, attaching supporting documentation</a:t>
          </a:r>
        </a:p>
      </dgm:t>
    </dgm:pt>
    <dgm:pt modelId="{ECAFCE0C-BDEC-49AF-B365-63BE7BEAE05F}" type="parTrans" cxnId="{D6D3F545-6AAC-495F-AE73-F826A4E3E459}">
      <dgm:prSet/>
      <dgm:spPr/>
      <dgm:t>
        <a:bodyPr/>
        <a:lstStyle/>
        <a:p>
          <a:endParaRPr lang="en-GB"/>
        </a:p>
      </dgm:t>
    </dgm:pt>
    <dgm:pt modelId="{94F162BC-C234-44A6-BB21-377A3A804FB0}" type="sibTrans" cxnId="{D6D3F545-6AAC-495F-AE73-F826A4E3E459}">
      <dgm:prSet/>
      <dgm:spPr/>
      <dgm:t>
        <a:bodyPr/>
        <a:lstStyle/>
        <a:p>
          <a:endParaRPr lang="en-GB"/>
        </a:p>
      </dgm:t>
    </dgm:pt>
    <dgm:pt modelId="{EE6A13BB-434D-48CE-9FFA-4EFFF5F4B754}">
      <dgm:prSet phldrT="[Text]"/>
      <dgm:spPr/>
      <dgm:t>
        <a:bodyPr/>
        <a:lstStyle/>
        <a:p>
          <a:r>
            <a:rPr lang="en-GB"/>
            <a:t>Selected assessor carries out technical assessment and confirms Scout rules knowledge</a:t>
          </a:r>
        </a:p>
      </dgm:t>
    </dgm:pt>
    <dgm:pt modelId="{2F5D37B1-4006-4E6D-A6C0-D10BEF8C7F56}" type="parTrans" cxnId="{A13D37FC-0795-4CA7-8660-7DDB68D4FBF4}">
      <dgm:prSet/>
      <dgm:spPr/>
      <dgm:t>
        <a:bodyPr/>
        <a:lstStyle/>
        <a:p>
          <a:endParaRPr lang="en-GB"/>
        </a:p>
      </dgm:t>
    </dgm:pt>
    <dgm:pt modelId="{0214A204-05B4-4542-B3CD-DC938951D730}" type="sibTrans" cxnId="{A13D37FC-0795-4CA7-8660-7DDB68D4FBF4}">
      <dgm:prSet/>
      <dgm:spPr/>
      <dgm:t>
        <a:bodyPr/>
        <a:lstStyle/>
        <a:p>
          <a:endParaRPr lang="en-GB"/>
        </a:p>
      </dgm:t>
    </dgm:pt>
    <dgm:pt modelId="{4DCC442E-B802-4669-A4D2-7C744261F497}">
      <dgm:prSet phldrT="[Text]"/>
      <dgm:spPr>
        <a:solidFill>
          <a:schemeClr val="accent6">
            <a:lumMod val="20000"/>
            <a:lumOff val="80000"/>
          </a:schemeClr>
        </a:solidFill>
      </dgm:spPr>
      <dgm:t>
        <a:bodyPr/>
        <a:lstStyle/>
        <a:p>
          <a:r>
            <a:rPr lang="en-GB"/>
            <a:t>Technical assessment is recorded on system</a:t>
          </a:r>
        </a:p>
      </dgm:t>
    </dgm:pt>
    <dgm:pt modelId="{43F6DCA4-44A6-4605-A61E-D4478F2F5913}" type="parTrans" cxnId="{A111DFEB-BAC8-4F42-8EF4-EA6411A27226}">
      <dgm:prSet/>
      <dgm:spPr/>
      <dgm:t>
        <a:bodyPr/>
        <a:lstStyle/>
        <a:p>
          <a:endParaRPr lang="en-GB"/>
        </a:p>
      </dgm:t>
    </dgm:pt>
    <dgm:pt modelId="{8222208C-F9CD-4E23-8BB0-6130A01A71FD}" type="sibTrans" cxnId="{A111DFEB-BAC8-4F42-8EF4-EA6411A27226}">
      <dgm:prSet/>
      <dgm:spPr/>
      <dgm:t>
        <a:bodyPr/>
        <a:lstStyle/>
        <a:p>
          <a:endParaRPr lang="en-GB"/>
        </a:p>
      </dgm:t>
    </dgm:pt>
    <dgm:pt modelId="{ACAA8BB1-AB41-4124-AD07-BA868CF8C6E0}">
      <dgm:prSet phldrT="[Text]"/>
      <dgm:spPr>
        <a:solidFill>
          <a:schemeClr val="accent6">
            <a:lumMod val="20000"/>
            <a:lumOff val="80000"/>
          </a:schemeClr>
        </a:solidFill>
      </dgm:spPr>
      <dgm:t>
        <a:bodyPr/>
        <a:lstStyle/>
        <a:p>
          <a:r>
            <a:rPr lang="en-GB"/>
            <a:t>Lead Volunteer or accredited person approves permit on system after confirming personal suitability </a:t>
          </a:r>
        </a:p>
      </dgm:t>
    </dgm:pt>
    <dgm:pt modelId="{70F2778A-65C7-41BC-A7F1-4A89AD6AB862}" type="parTrans" cxnId="{E2E6FE2C-3AB5-42C4-9838-E9C2F16650DB}">
      <dgm:prSet/>
      <dgm:spPr/>
      <dgm:t>
        <a:bodyPr/>
        <a:lstStyle/>
        <a:p>
          <a:endParaRPr lang="en-GB"/>
        </a:p>
      </dgm:t>
    </dgm:pt>
    <dgm:pt modelId="{91C0AB84-FC5F-414D-9428-4508F1396B90}" type="sibTrans" cxnId="{E2E6FE2C-3AB5-42C4-9838-E9C2F16650DB}">
      <dgm:prSet/>
      <dgm:spPr/>
      <dgm:t>
        <a:bodyPr/>
        <a:lstStyle/>
        <a:p>
          <a:endParaRPr lang="en-GB"/>
        </a:p>
      </dgm:t>
    </dgm:pt>
    <dgm:pt modelId="{0A7C1DAC-E1A3-451B-8353-83779A5614BB}" type="pres">
      <dgm:prSet presAssocID="{E8002D6A-0C88-4ACB-8347-7791A957725E}" presName="Name0" presStyleCnt="0">
        <dgm:presLayoutVars>
          <dgm:dir/>
          <dgm:resizeHandles val="exact"/>
        </dgm:presLayoutVars>
      </dgm:prSet>
      <dgm:spPr/>
    </dgm:pt>
    <dgm:pt modelId="{29417C91-6FA9-47F2-99D0-D02991635E78}" type="pres">
      <dgm:prSet presAssocID="{08E664FB-C5CB-44FA-B432-E45E5913DFD1}" presName="node" presStyleLbl="node1" presStyleIdx="0" presStyleCnt="4" custLinFactNeighborX="1444" custLinFactNeighborY="-22517">
        <dgm:presLayoutVars>
          <dgm:bulletEnabled val="1"/>
        </dgm:presLayoutVars>
      </dgm:prSet>
      <dgm:spPr/>
    </dgm:pt>
    <dgm:pt modelId="{0F0126AF-AAB7-4CB7-AECF-A04D12C56C5E}" type="pres">
      <dgm:prSet presAssocID="{94F162BC-C234-44A6-BB21-377A3A804FB0}" presName="sibTrans" presStyleLbl="sibTrans2D1" presStyleIdx="0" presStyleCnt="3"/>
      <dgm:spPr/>
    </dgm:pt>
    <dgm:pt modelId="{0E7BDC97-DE90-4DF3-BF1D-C91EC6D5C55B}" type="pres">
      <dgm:prSet presAssocID="{94F162BC-C234-44A6-BB21-377A3A804FB0}" presName="connectorText" presStyleLbl="sibTrans2D1" presStyleIdx="0" presStyleCnt="3"/>
      <dgm:spPr/>
    </dgm:pt>
    <dgm:pt modelId="{639CFCE5-FAF0-419E-8E75-8797FA8C8C28}" type="pres">
      <dgm:prSet presAssocID="{EE6A13BB-434D-48CE-9FFA-4EFFF5F4B754}" presName="node" presStyleLbl="node1" presStyleIdx="1" presStyleCnt="4" custLinFactNeighborX="1444" custLinFactNeighborY="-22517">
        <dgm:presLayoutVars>
          <dgm:bulletEnabled val="1"/>
        </dgm:presLayoutVars>
      </dgm:prSet>
      <dgm:spPr/>
    </dgm:pt>
    <dgm:pt modelId="{35B837E2-F2C9-4C99-98AC-A39D588F9264}" type="pres">
      <dgm:prSet presAssocID="{0214A204-05B4-4542-B3CD-DC938951D730}" presName="sibTrans" presStyleLbl="sibTrans2D1" presStyleIdx="1" presStyleCnt="3"/>
      <dgm:spPr/>
    </dgm:pt>
    <dgm:pt modelId="{E4896CD6-45AF-4923-84A3-423025B93E2F}" type="pres">
      <dgm:prSet presAssocID="{0214A204-05B4-4542-B3CD-DC938951D730}" presName="connectorText" presStyleLbl="sibTrans2D1" presStyleIdx="1" presStyleCnt="3"/>
      <dgm:spPr/>
    </dgm:pt>
    <dgm:pt modelId="{4E02BE46-C631-478C-8172-4FF67ACF4F5C}" type="pres">
      <dgm:prSet presAssocID="{4DCC442E-B802-4669-A4D2-7C744261F497}" presName="node" presStyleLbl="node1" presStyleIdx="2" presStyleCnt="4" custLinFactNeighborX="1444" custLinFactNeighborY="-22517">
        <dgm:presLayoutVars>
          <dgm:bulletEnabled val="1"/>
        </dgm:presLayoutVars>
      </dgm:prSet>
      <dgm:spPr/>
    </dgm:pt>
    <dgm:pt modelId="{A6F29520-B477-4C31-BCFF-39D9AFF60BB4}" type="pres">
      <dgm:prSet presAssocID="{8222208C-F9CD-4E23-8BB0-6130A01A71FD}" presName="sibTrans" presStyleLbl="sibTrans2D1" presStyleIdx="2" presStyleCnt="3"/>
      <dgm:spPr/>
    </dgm:pt>
    <dgm:pt modelId="{CC878317-7A2A-4DF0-B1E1-FECD444AD1FF}" type="pres">
      <dgm:prSet presAssocID="{8222208C-F9CD-4E23-8BB0-6130A01A71FD}" presName="connectorText" presStyleLbl="sibTrans2D1" presStyleIdx="2" presStyleCnt="3"/>
      <dgm:spPr/>
    </dgm:pt>
    <dgm:pt modelId="{91724BA9-D402-4EB5-9B21-7FF3BB0CC679}" type="pres">
      <dgm:prSet presAssocID="{ACAA8BB1-AB41-4124-AD07-BA868CF8C6E0}" presName="node" presStyleLbl="node1" presStyleIdx="3" presStyleCnt="4" custLinFactNeighborX="1444" custLinFactNeighborY="-22517">
        <dgm:presLayoutVars>
          <dgm:bulletEnabled val="1"/>
        </dgm:presLayoutVars>
      </dgm:prSet>
      <dgm:spPr/>
    </dgm:pt>
  </dgm:ptLst>
  <dgm:cxnLst>
    <dgm:cxn modelId="{82350308-D9C8-40AA-AD35-088FFFAFF1AD}" type="presOf" srcId="{08E664FB-C5CB-44FA-B432-E45E5913DFD1}" destId="{29417C91-6FA9-47F2-99D0-D02991635E78}" srcOrd="0" destOrd="0" presId="urn:microsoft.com/office/officeart/2005/8/layout/process1"/>
    <dgm:cxn modelId="{08004D0C-C637-4F6D-8B64-4134B3873791}" type="presOf" srcId="{4DCC442E-B802-4669-A4D2-7C744261F497}" destId="{4E02BE46-C631-478C-8172-4FF67ACF4F5C}" srcOrd="0" destOrd="0" presId="urn:microsoft.com/office/officeart/2005/8/layout/process1"/>
    <dgm:cxn modelId="{3034540D-3B08-45C5-8362-BA43D04E6EA7}" type="presOf" srcId="{8222208C-F9CD-4E23-8BB0-6130A01A71FD}" destId="{A6F29520-B477-4C31-BCFF-39D9AFF60BB4}" srcOrd="0" destOrd="0" presId="urn:microsoft.com/office/officeart/2005/8/layout/process1"/>
    <dgm:cxn modelId="{5F284C10-4341-4D38-90ED-F5DFC82D86B9}" type="presOf" srcId="{ACAA8BB1-AB41-4124-AD07-BA868CF8C6E0}" destId="{91724BA9-D402-4EB5-9B21-7FF3BB0CC679}" srcOrd="0" destOrd="0" presId="urn:microsoft.com/office/officeart/2005/8/layout/process1"/>
    <dgm:cxn modelId="{19BFDD2C-3F42-495C-97C8-6E357B39C263}" type="presOf" srcId="{0214A204-05B4-4542-B3CD-DC938951D730}" destId="{E4896CD6-45AF-4923-84A3-423025B93E2F}" srcOrd="1" destOrd="0" presId="urn:microsoft.com/office/officeart/2005/8/layout/process1"/>
    <dgm:cxn modelId="{E2E6FE2C-3AB5-42C4-9838-E9C2F16650DB}" srcId="{E8002D6A-0C88-4ACB-8347-7791A957725E}" destId="{ACAA8BB1-AB41-4124-AD07-BA868CF8C6E0}" srcOrd="3" destOrd="0" parTransId="{70F2778A-65C7-41BC-A7F1-4A89AD6AB862}" sibTransId="{91C0AB84-FC5F-414D-9428-4508F1396B90}"/>
    <dgm:cxn modelId="{40CE7137-96A5-4D14-9E06-00E96AE457D3}" type="presOf" srcId="{0214A204-05B4-4542-B3CD-DC938951D730}" destId="{35B837E2-F2C9-4C99-98AC-A39D588F9264}" srcOrd="0" destOrd="0" presId="urn:microsoft.com/office/officeart/2005/8/layout/process1"/>
    <dgm:cxn modelId="{D6D3F545-6AAC-495F-AE73-F826A4E3E459}" srcId="{E8002D6A-0C88-4ACB-8347-7791A957725E}" destId="{08E664FB-C5CB-44FA-B432-E45E5913DFD1}" srcOrd="0" destOrd="0" parTransId="{ECAFCE0C-BDEC-49AF-B365-63BE7BEAE05F}" sibTransId="{94F162BC-C234-44A6-BB21-377A3A804FB0}"/>
    <dgm:cxn modelId="{AD8C064A-3FFB-4C42-824B-8CA1576D0330}" type="presOf" srcId="{EE6A13BB-434D-48CE-9FFA-4EFFF5F4B754}" destId="{639CFCE5-FAF0-419E-8E75-8797FA8C8C28}" srcOrd="0" destOrd="0" presId="urn:microsoft.com/office/officeart/2005/8/layout/process1"/>
    <dgm:cxn modelId="{1B5E7D8C-9FC6-4714-BDCA-DF3FF8C70E43}" type="presOf" srcId="{94F162BC-C234-44A6-BB21-377A3A804FB0}" destId="{0E7BDC97-DE90-4DF3-BF1D-C91EC6D5C55B}" srcOrd="1" destOrd="0" presId="urn:microsoft.com/office/officeart/2005/8/layout/process1"/>
    <dgm:cxn modelId="{822B158D-B318-45F6-8AD0-6A3A67E33533}" type="presOf" srcId="{E8002D6A-0C88-4ACB-8347-7791A957725E}" destId="{0A7C1DAC-E1A3-451B-8353-83779A5614BB}" srcOrd="0" destOrd="0" presId="urn:microsoft.com/office/officeart/2005/8/layout/process1"/>
    <dgm:cxn modelId="{F64945C4-FC07-4602-AB3F-43EDC58CEF2A}" type="presOf" srcId="{8222208C-F9CD-4E23-8BB0-6130A01A71FD}" destId="{CC878317-7A2A-4DF0-B1E1-FECD444AD1FF}" srcOrd="1" destOrd="0" presId="urn:microsoft.com/office/officeart/2005/8/layout/process1"/>
    <dgm:cxn modelId="{A111DFEB-BAC8-4F42-8EF4-EA6411A27226}" srcId="{E8002D6A-0C88-4ACB-8347-7791A957725E}" destId="{4DCC442E-B802-4669-A4D2-7C744261F497}" srcOrd="2" destOrd="0" parTransId="{43F6DCA4-44A6-4605-A61E-D4478F2F5913}" sibTransId="{8222208C-F9CD-4E23-8BB0-6130A01A71FD}"/>
    <dgm:cxn modelId="{21B410F3-2AF4-4889-91E6-9CB6841675DC}" type="presOf" srcId="{94F162BC-C234-44A6-BB21-377A3A804FB0}" destId="{0F0126AF-AAB7-4CB7-AECF-A04D12C56C5E}" srcOrd="0" destOrd="0" presId="urn:microsoft.com/office/officeart/2005/8/layout/process1"/>
    <dgm:cxn modelId="{A13D37FC-0795-4CA7-8660-7DDB68D4FBF4}" srcId="{E8002D6A-0C88-4ACB-8347-7791A957725E}" destId="{EE6A13BB-434D-48CE-9FFA-4EFFF5F4B754}" srcOrd="1" destOrd="0" parTransId="{2F5D37B1-4006-4E6D-A6C0-D10BEF8C7F56}" sibTransId="{0214A204-05B4-4542-B3CD-DC938951D730}"/>
    <dgm:cxn modelId="{56FABB07-9B99-4D1A-BB63-81F9F7DA6E01}" type="presParOf" srcId="{0A7C1DAC-E1A3-451B-8353-83779A5614BB}" destId="{29417C91-6FA9-47F2-99D0-D02991635E78}" srcOrd="0" destOrd="0" presId="urn:microsoft.com/office/officeart/2005/8/layout/process1"/>
    <dgm:cxn modelId="{1F85FA4D-5CF6-4ECB-9F8D-0CDDC3910E64}" type="presParOf" srcId="{0A7C1DAC-E1A3-451B-8353-83779A5614BB}" destId="{0F0126AF-AAB7-4CB7-AECF-A04D12C56C5E}" srcOrd="1" destOrd="0" presId="urn:microsoft.com/office/officeart/2005/8/layout/process1"/>
    <dgm:cxn modelId="{276E738E-5DD9-4F57-ADAB-F3C321B84CD1}" type="presParOf" srcId="{0F0126AF-AAB7-4CB7-AECF-A04D12C56C5E}" destId="{0E7BDC97-DE90-4DF3-BF1D-C91EC6D5C55B}" srcOrd="0" destOrd="0" presId="urn:microsoft.com/office/officeart/2005/8/layout/process1"/>
    <dgm:cxn modelId="{E4E3F542-B118-4DEF-A846-C7DB49E4D7E9}" type="presParOf" srcId="{0A7C1DAC-E1A3-451B-8353-83779A5614BB}" destId="{639CFCE5-FAF0-419E-8E75-8797FA8C8C28}" srcOrd="2" destOrd="0" presId="urn:microsoft.com/office/officeart/2005/8/layout/process1"/>
    <dgm:cxn modelId="{27D1D9A5-E753-47DB-AB59-BA31140C011E}" type="presParOf" srcId="{0A7C1DAC-E1A3-451B-8353-83779A5614BB}" destId="{35B837E2-F2C9-4C99-98AC-A39D588F9264}" srcOrd="3" destOrd="0" presId="urn:microsoft.com/office/officeart/2005/8/layout/process1"/>
    <dgm:cxn modelId="{2EDE4BB9-03D9-44F6-A1F8-EC17F28B283F}" type="presParOf" srcId="{35B837E2-F2C9-4C99-98AC-A39D588F9264}" destId="{E4896CD6-45AF-4923-84A3-423025B93E2F}" srcOrd="0" destOrd="0" presId="urn:microsoft.com/office/officeart/2005/8/layout/process1"/>
    <dgm:cxn modelId="{1F09885F-E44B-4D3E-9FD9-A5D60FFA81CC}" type="presParOf" srcId="{0A7C1DAC-E1A3-451B-8353-83779A5614BB}" destId="{4E02BE46-C631-478C-8172-4FF67ACF4F5C}" srcOrd="4" destOrd="0" presId="urn:microsoft.com/office/officeart/2005/8/layout/process1"/>
    <dgm:cxn modelId="{2B2D026E-7CF9-4153-9327-550CF193AC2E}" type="presParOf" srcId="{0A7C1DAC-E1A3-451B-8353-83779A5614BB}" destId="{A6F29520-B477-4C31-BCFF-39D9AFF60BB4}" srcOrd="5" destOrd="0" presId="urn:microsoft.com/office/officeart/2005/8/layout/process1"/>
    <dgm:cxn modelId="{75799FB8-27AF-4A17-94DF-E2444049B21E}" type="presParOf" srcId="{A6F29520-B477-4C31-BCFF-39D9AFF60BB4}" destId="{CC878317-7A2A-4DF0-B1E1-FECD444AD1FF}" srcOrd="0" destOrd="0" presId="urn:microsoft.com/office/officeart/2005/8/layout/process1"/>
    <dgm:cxn modelId="{2D14C87B-6B5E-4B33-BA18-8D9E7ED8AB8D}" type="presParOf" srcId="{0A7C1DAC-E1A3-451B-8353-83779A5614BB}" destId="{91724BA9-D402-4EB5-9B21-7FF3BB0CC679}"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8002D6A-0C88-4ACB-8347-7791A957725E}" type="doc">
      <dgm:prSet loTypeId="urn:microsoft.com/office/officeart/2005/8/layout/process1" loCatId="process" qsTypeId="urn:microsoft.com/office/officeart/2005/8/quickstyle/simple1" qsCatId="simple" csTypeId="urn:microsoft.com/office/officeart/2005/8/colors/accent0_2" csCatId="mainScheme" phldr="1"/>
      <dgm:spPr/>
      <dgm:t>
        <a:bodyPr/>
        <a:lstStyle/>
        <a:p>
          <a:endParaRPr lang="en-GB"/>
        </a:p>
      </dgm:t>
    </dgm:pt>
    <dgm:pt modelId="{EE6A13BB-434D-48CE-9FFA-4EFFF5F4B754}">
      <dgm:prSet phldrT="[Text]"/>
      <dgm:spPr/>
      <dgm:t>
        <a:bodyPr/>
        <a:lstStyle/>
        <a:p>
          <a:r>
            <a:rPr lang="en-GB"/>
            <a:t>Through the system, any volunteer may submit a Good Service Award nomination, including supporting information, attachments and the citation</a:t>
          </a:r>
        </a:p>
      </dgm:t>
    </dgm:pt>
    <dgm:pt modelId="{2F5D37B1-4006-4E6D-A6C0-D10BEF8C7F56}" type="parTrans" cxnId="{A13D37FC-0795-4CA7-8660-7DDB68D4FBF4}">
      <dgm:prSet/>
      <dgm:spPr/>
      <dgm:t>
        <a:bodyPr/>
        <a:lstStyle/>
        <a:p>
          <a:endParaRPr lang="en-GB"/>
        </a:p>
      </dgm:t>
    </dgm:pt>
    <dgm:pt modelId="{0214A204-05B4-4542-B3CD-DC938951D730}" type="sibTrans" cxnId="{A13D37FC-0795-4CA7-8660-7DDB68D4FBF4}">
      <dgm:prSet/>
      <dgm:spPr/>
      <dgm:t>
        <a:bodyPr/>
        <a:lstStyle/>
        <a:p>
          <a:endParaRPr lang="en-GB"/>
        </a:p>
      </dgm:t>
    </dgm:pt>
    <dgm:pt modelId="{4DCC442E-B802-4669-A4D2-7C744261F497}">
      <dgm:prSet phldrT="[Text]"/>
      <dgm:spPr/>
      <dgm:t>
        <a:bodyPr/>
        <a:lstStyle/>
        <a:p>
          <a:r>
            <a:rPr lang="en-GB"/>
            <a:t>At the time of creating the submission, the system checks whether award criteria are met to allow for the creation of the nomination to proceed</a:t>
          </a:r>
        </a:p>
      </dgm:t>
    </dgm:pt>
    <dgm:pt modelId="{43F6DCA4-44A6-4605-A61E-D4478F2F5913}" type="parTrans" cxnId="{A111DFEB-BAC8-4F42-8EF4-EA6411A27226}">
      <dgm:prSet/>
      <dgm:spPr/>
      <dgm:t>
        <a:bodyPr/>
        <a:lstStyle/>
        <a:p>
          <a:endParaRPr lang="en-GB"/>
        </a:p>
      </dgm:t>
    </dgm:pt>
    <dgm:pt modelId="{8222208C-F9CD-4E23-8BB0-6130A01A71FD}" type="sibTrans" cxnId="{A111DFEB-BAC8-4F42-8EF4-EA6411A27226}">
      <dgm:prSet/>
      <dgm:spPr/>
      <dgm:t>
        <a:bodyPr/>
        <a:lstStyle/>
        <a:p>
          <a:endParaRPr lang="en-GB"/>
        </a:p>
      </dgm:t>
    </dgm:pt>
    <dgm:pt modelId="{ACAA8BB1-AB41-4124-AD07-BA868CF8C6E0}">
      <dgm:prSet phldrT="[Text]"/>
      <dgm:spPr/>
      <dgm:t>
        <a:bodyPr/>
        <a:lstStyle/>
        <a:p>
          <a:r>
            <a:rPr lang="en-GB"/>
            <a:t>Approved Good Service Award nomination sent to HQ by system</a:t>
          </a:r>
        </a:p>
      </dgm:t>
    </dgm:pt>
    <dgm:pt modelId="{70F2778A-65C7-41BC-A7F1-4A89AD6AB862}" type="parTrans" cxnId="{E2E6FE2C-3AB5-42C4-9838-E9C2F16650DB}">
      <dgm:prSet/>
      <dgm:spPr/>
      <dgm:t>
        <a:bodyPr/>
        <a:lstStyle/>
        <a:p>
          <a:endParaRPr lang="en-GB"/>
        </a:p>
      </dgm:t>
    </dgm:pt>
    <dgm:pt modelId="{91C0AB84-FC5F-414D-9428-4508F1396B90}" type="sibTrans" cxnId="{E2E6FE2C-3AB5-42C4-9838-E9C2F16650DB}">
      <dgm:prSet/>
      <dgm:spPr/>
      <dgm:t>
        <a:bodyPr/>
        <a:lstStyle/>
        <a:p>
          <a:endParaRPr lang="en-GB"/>
        </a:p>
      </dgm:t>
    </dgm:pt>
    <dgm:pt modelId="{D00F8665-5BD7-4938-B9D4-ACD3F4B0A9BA}">
      <dgm:prSet phldrT="[Text]"/>
      <dgm:spPr/>
      <dgm:t>
        <a:bodyPr/>
        <a:lstStyle/>
        <a:p>
          <a:r>
            <a:rPr lang="en-GB"/>
            <a:t>Awards sent out by HQ quarterly to the  accredited Awards parcel recipient</a:t>
          </a:r>
        </a:p>
      </dgm:t>
    </dgm:pt>
    <dgm:pt modelId="{A01931CF-B9AA-408F-9339-FF7D077CE7C4}" type="parTrans" cxnId="{4FB20153-ECE0-487B-84C0-CD849165AB7A}">
      <dgm:prSet/>
      <dgm:spPr/>
      <dgm:t>
        <a:bodyPr/>
        <a:lstStyle/>
        <a:p>
          <a:endParaRPr lang="en-GB"/>
        </a:p>
      </dgm:t>
    </dgm:pt>
    <dgm:pt modelId="{04F59425-3E33-4342-A683-A462094A75CE}" type="sibTrans" cxnId="{4FB20153-ECE0-487B-84C0-CD849165AB7A}">
      <dgm:prSet/>
      <dgm:spPr/>
      <dgm:t>
        <a:bodyPr/>
        <a:lstStyle/>
        <a:p>
          <a:endParaRPr lang="en-GB"/>
        </a:p>
      </dgm:t>
    </dgm:pt>
    <dgm:pt modelId="{15FFE089-FF42-4C49-89DC-7014BCBF40B7}">
      <dgm:prSet phldrT="[Text]"/>
      <dgm:spPr/>
      <dgm:t>
        <a:bodyPr/>
        <a:lstStyle/>
        <a:p>
          <a:r>
            <a:rPr lang="en-GB"/>
            <a:t>On the system, the Lead Volunteer or Approver will then review (and edit if required) the nomination and approve or reject this</a:t>
          </a:r>
        </a:p>
      </dgm:t>
    </dgm:pt>
    <dgm:pt modelId="{A8829714-FBB7-412F-A866-F694B8F5D427}" type="parTrans" cxnId="{6F7302E8-6149-4647-B1AE-B9E74CAC8D20}">
      <dgm:prSet/>
      <dgm:spPr/>
      <dgm:t>
        <a:bodyPr/>
        <a:lstStyle/>
        <a:p>
          <a:endParaRPr lang="en-GB"/>
        </a:p>
      </dgm:t>
    </dgm:pt>
    <dgm:pt modelId="{AF34DE8B-767B-46CA-821B-4AE87164BF82}" type="sibTrans" cxnId="{6F7302E8-6149-4647-B1AE-B9E74CAC8D20}">
      <dgm:prSet/>
      <dgm:spPr/>
      <dgm:t>
        <a:bodyPr/>
        <a:lstStyle/>
        <a:p>
          <a:endParaRPr lang="en-GB"/>
        </a:p>
      </dgm:t>
    </dgm:pt>
    <dgm:pt modelId="{0A7C1DAC-E1A3-451B-8353-83779A5614BB}" type="pres">
      <dgm:prSet presAssocID="{E8002D6A-0C88-4ACB-8347-7791A957725E}" presName="Name0" presStyleCnt="0">
        <dgm:presLayoutVars>
          <dgm:dir/>
          <dgm:resizeHandles val="exact"/>
        </dgm:presLayoutVars>
      </dgm:prSet>
      <dgm:spPr/>
    </dgm:pt>
    <dgm:pt modelId="{639CFCE5-FAF0-419E-8E75-8797FA8C8C28}" type="pres">
      <dgm:prSet presAssocID="{EE6A13BB-434D-48CE-9FFA-4EFFF5F4B754}" presName="node" presStyleLbl="node1" presStyleIdx="0" presStyleCnt="5">
        <dgm:presLayoutVars>
          <dgm:bulletEnabled val="1"/>
        </dgm:presLayoutVars>
      </dgm:prSet>
      <dgm:spPr/>
    </dgm:pt>
    <dgm:pt modelId="{35B837E2-F2C9-4C99-98AC-A39D588F9264}" type="pres">
      <dgm:prSet presAssocID="{0214A204-05B4-4542-B3CD-DC938951D730}" presName="sibTrans" presStyleLbl="sibTrans2D1" presStyleIdx="0" presStyleCnt="4"/>
      <dgm:spPr/>
    </dgm:pt>
    <dgm:pt modelId="{E4896CD6-45AF-4923-84A3-423025B93E2F}" type="pres">
      <dgm:prSet presAssocID="{0214A204-05B4-4542-B3CD-DC938951D730}" presName="connectorText" presStyleLbl="sibTrans2D1" presStyleIdx="0" presStyleCnt="4"/>
      <dgm:spPr/>
    </dgm:pt>
    <dgm:pt modelId="{4E02BE46-C631-478C-8172-4FF67ACF4F5C}" type="pres">
      <dgm:prSet presAssocID="{4DCC442E-B802-4669-A4D2-7C744261F497}" presName="node" presStyleLbl="node1" presStyleIdx="1" presStyleCnt="5">
        <dgm:presLayoutVars>
          <dgm:bulletEnabled val="1"/>
        </dgm:presLayoutVars>
      </dgm:prSet>
      <dgm:spPr/>
    </dgm:pt>
    <dgm:pt modelId="{A6F29520-B477-4C31-BCFF-39D9AFF60BB4}" type="pres">
      <dgm:prSet presAssocID="{8222208C-F9CD-4E23-8BB0-6130A01A71FD}" presName="sibTrans" presStyleLbl="sibTrans2D1" presStyleIdx="1" presStyleCnt="4"/>
      <dgm:spPr/>
    </dgm:pt>
    <dgm:pt modelId="{CC878317-7A2A-4DF0-B1E1-FECD444AD1FF}" type="pres">
      <dgm:prSet presAssocID="{8222208C-F9CD-4E23-8BB0-6130A01A71FD}" presName="connectorText" presStyleLbl="sibTrans2D1" presStyleIdx="1" presStyleCnt="4"/>
      <dgm:spPr/>
    </dgm:pt>
    <dgm:pt modelId="{3026789A-2072-46DA-B3C7-14458A3185B0}" type="pres">
      <dgm:prSet presAssocID="{15FFE089-FF42-4C49-89DC-7014BCBF40B7}" presName="node" presStyleLbl="node1" presStyleIdx="2" presStyleCnt="5">
        <dgm:presLayoutVars>
          <dgm:bulletEnabled val="1"/>
        </dgm:presLayoutVars>
      </dgm:prSet>
      <dgm:spPr/>
    </dgm:pt>
    <dgm:pt modelId="{271A4562-9D97-4360-B21B-C5661B35260D}" type="pres">
      <dgm:prSet presAssocID="{AF34DE8B-767B-46CA-821B-4AE87164BF82}" presName="sibTrans" presStyleLbl="sibTrans2D1" presStyleIdx="2" presStyleCnt="4"/>
      <dgm:spPr/>
    </dgm:pt>
    <dgm:pt modelId="{C53AB075-0569-4635-B531-7330D9255D82}" type="pres">
      <dgm:prSet presAssocID="{AF34DE8B-767B-46CA-821B-4AE87164BF82}" presName="connectorText" presStyleLbl="sibTrans2D1" presStyleIdx="2" presStyleCnt="4"/>
      <dgm:spPr/>
    </dgm:pt>
    <dgm:pt modelId="{91724BA9-D402-4EB5-9B21-7FF3BB0CC679}" type="pres">
      <dgm:prSet presAssocID="{ACAA8BB1-AB41-4124-AD07-BA868CF8C6E0}" presName="node" presStyleLbl="node1" presStyleIdx="3" presStyleCnt="5">
        <dgm:presLayoutVars>
          <dgm:bulletEnabled val="1"/>
        </dgm:presLayoutVars>
      </dgm:prSet>
      <dgm:spPr/>
    </dgm:pt>
    <dgm:pt modelId="{DA7C8EA8-E315-49A9-A92A-99334D18DC00}" type="pres">
      <dgm:prSet presAssocID="{91C0AB84-FC5F-414D-9428-4508F1396B90}" presName="sibTrans" presStyleLbl="sibTrans2D1" presStyleIdx="3" presStyleCnt="4"/>
      <dgm:spPr/>
    </dgm:pt>
    <dgm:pt modelId="{49CE568C-06E0-4E56-9E4B-3FBBE81CA077}" type="pres">
      <dgm:prSet presAssocID="{91C0AB84-FC5F-414D-9428-4508F1396B90}" presName="connectorText" presStyleLbl="sibTrans2D1" presStyleIdx="3" presStyleCnt="4"/>
      <dgm:spPr/>
    </dgm:pt>
    <dgm:pt modelId="{B4FD00E7-9CEB-4AEC-BEA2-0CBF7A37724B}" type="pres">
      <dgm:prSet presAssocID="{D00F8665-5BD7-4938-B9D4-ACD3F4B0A9BA}" presName="node" presStyleLbl="node1" presStyleIdx="4" presStyleCnt="5">
        <dgm:presLayoutVars>
          <dgm:bulletEnabled val="1"/>
        </dgm:presLayoutVars>
      </dgm:prSet>
      <dgm:spPr/>
    </dgm:pt>
  </dgm:ptLst>
  <dgm:cxnLst>
    <dgm:cxn modelId="{3D513500-1735-45C2-B6EC-04CF1A56EB34}" type="presOf" srcId="{15FFE089-FF42-4C49-89DC-7014BCBF40B7}" destId="{3026789A-2072-46DA-B3C7-14458A3185B0}" srcOrd="0" destOrd="0" presId="urn:microsoft.com/office/officeart/2005/8/layout/process1"/>
    <dgm:cxn modelId="{08004D0C-C637-4F6D-8B64-4134B3873791}" type="presOf" srcId="{4DCC442E-B802-4669-A4D2-7C744261F497}" destId="{4E02BE46-C631-478C-8172-4FF67ACF4F5C}" srcOrd="0" destOrd="0" presId="urn:microsoft.com/office/officeart/2005/8/layout/process1"/>
    <dgm:cxn modelId="{3034540D-3B08-45C5-8362-BA43D04E6EA7}" type="presOf" srcId="{8222208C-F9CD-4E23-8BB0-6130A01A71FD}" destId="{A6F29520-B477-4C31-BCFF-39D9AFF60BB4}" srcOrd="0" destOrd="0" presId="urn:microsoft.com/office/officeart/2005/8/layout/process1"/>
    <dgm:cxn modelId="{5F284C10-4341-4D38-90ED-F5DFC82D86B9}" type="presOf" srcId="{ACAA8BB1-AB41-4124-AD07-BA868CF8C6E0}" destId="{91724BA9-D402-4EB5-9B21-7FF3BB0CC679}" srcOrd="0" destOrd="0" presId="urn:microsoft.com/office/officeart/2005/8/layout/process1"/>
    <dgm:cxn modelId="{19BFDD2C-3F42-495C-97C8-6E357B39C263}" type="presOf" srcId="{0214A204-05B4-4542-B3CD-DC938951D730}" destId="{E4896CD6-45AF-4923-84A3-423025B93E2F}" srcOrd="1" destOrd="0" presId="urn:microsoft.com/office/officeart/2005/8/layout/process1"/>
    <dgm:cxn modelId="{E2E6FE2C-3AB5-42C4-9838-E9C2F16650DB}" srcId="{E8002D6A-0C88-4ACB-8347-7791A957725E}" destId="{ACAA8BB1-AB41-4124-AD07-BA868CF8C6E0}" srcOrd="3" destOrd="0" parTransId="{70F2778A-65C7-41BC-A7F1-4A89AD6AB862}" sibTransId="{91C0AB84-FC5F-414D-9428-4508F1396B90}"/>
    <dgm:cxn modelId="{CAC9232F-8DBA-4689-B325-60FD79647884}" type="presOf" srcId="{91C0AB84-FC5F-414D-9428-4508F1396B90}" destId="{49CE568C-06E0-4E56-9E4B-3FBBE81CA077}" srcOrd="1" destOrd="0" presId="urn:microsoft.com/office/officeart/2005/8/layout/process1"/>
    <dgm:cxn modelId="{40CE7137-96A5-4D14-9E06-00E96AE457D3}" type="presOf" srcId="{0214A204-05B4-4542-B3CD-DC938951D730}" destId="{35B837E2-F2C9-4C99-98AC-A39D588F9264}" srcOrd="0" destOrd="0" presId="urn:microsoft.com/office/officeart/2005/8/layout/process1"/>
    <dgm:cxn modelId="{01AC5363-4AFF-4681-9860-A750661BDAC3}" type="presOf" srcId="{AF34DE8B-767B-46CA-821B-4AE87164BF82}" destId="{271A4562-9D97-4360-B21B-C5661B35260D}" srcOrd="0" destOrd="0" presId="urn:microsoft.com/office/officeart/2005/8/layout/process1"/>
    <dgm:cxn modelId="{AD8C064A-3FFB-4C42-824B-8CA1576D0330}" type="presOf" srcId="{EE6A13BB-434D-48CE-9FFA-4EFFF5F4B754}" destId="{639CFCE5-FAF0-419E-8E75-8797FA8C8C28}" srcOrd="0" destOrd="0" presId="urn:microsoft.com/office/officeart/2005/8/layout/process1"/>
    <dgm:cxn modelId="{4FB20153-ECE0-487B-84C0-CD849165AB7A}" srcId="{E8002D6A-0C88-4ACB-8347-7791A957725E}" destId="{D00F8665-5BD7-4938-B9D4-ACD3F4B0A9BA}" srcOrd="4" destOrd="0" parTransId="{A01931CF-B9AA-408F-9339-FF7D077CE7C4}" sibTransId="{04F59425-3E33-4342-A683-A462094A75CE}"/>
    <dgm:cxn modelId="{822B158D-B318-45F6-8AD0-6A3A67E33533}" type="presOf" srcId="{E8002D6A-0C88-4ACB-8347-7791A957725E}" destId="{0A7C1DAC-E1A3-451B-8353-83779A5614BB}" srcOrd="0" destOrd="0" presId="urn:microsoft.com/office/officeart/2005/8/layout/process1"/>
    <dgm:cxn modelId="{3DB3DA9E-0249-45C1-8758-72B745B243B1}" type="presOf" srcId="{91C0AB84-FC5F-414D-9428-4508F1396B90}" destId="{DA7C8EA8-E315-49A9-A92A-99334D18DC00}" srcOrd="0" destOrd="0" presId="urn:microsoft.com/office/officeart/2005/8/layout/process1"/>
    <dgm:cxn modelId="{22DFECA2-0607-4210-AE07-16BF0EC6A30B}" type="presOf" srcId="{AF34DE8B-767B-46CA-821B-4AE87164BF82}" destId="{C53AB075-0569-4635-B531-7330D9255D82}" srcOrd="1" destOrd="0" presId="urn:microsoft.com/office/officeart/2005/8/layout/process1"/>
    <dgm:cxn modelId="{B42E7FA4-60ED-40BB-B1B7-F15F57E4FB58}" type="presOf" srcId="{D00F8665-5BD7-4938-B9D4-ACD3F4B0A9BA}" destId="{B4FD00E7-9CEB-4AEC-BEA2-0CBF7A37724B}" srcOrd="0" destOrd="0" presId="urn:microsoft.com/office/officeart/2005/8/layout/process1"/>
    <dgm:cxn modelId="{F64945C4-FC07-4602-AB3F-43EDC58CEF2A}" type="presOf" srcId="{8222208C-F9CD-4E23-8BB0-6130A01A71FD}" destId="{CC878317-7A2A-4DF0-B1E1-FECD444AD1FF}" srcOrd="1" destOrd="0" presId="urn:microsoft.com/office/officeart/2005/8/layout/process1"/>
    <dgm:cxn modelId="{6F7302E8-6149-4647-B1AE-B9E74CAC8D20}" srcId="{E8002D6A-0C88-4ACB-8347-7791A957725E}" destId="{15FFE089-FF42-4C49-89DC-7014BCBF40B7}" srcOrd="2" destOrd="0" parTransId="{A8829714-FBB7-412F-A866-F694B8F5D427}" sibTransId="{AF34DE8B-767B-46CA-821B-4AE87164BF82}"/>
    <dgm:cxn modelId="{A111DFEB-BAC8-4F42-8EF4-EA6411A27226}" srcId="{E8002D6A-0C88-4ACB-8347-7791A957725E}" destId="{4DCC442E-B802-4669-A4D2-7C744261F497}" srcOrd="1" destOrd="0" parTransId="{43F6DCA4-44A6-4605-A61E-D4478F2F5913}" sibTransId="{8222208C-F9CD-4E23-8BB0-6130A01A71FD}"/>
    <dgm:cxn modelId="{A13D37FC-0795-4CA7-8660-7DDB68D4FBF4}" srcId="{E8002D6A-0C88-4ACB-8347-7791A957725E}" destId="{EE6A13BB-434D-48CE-9FFA-4EFFF5F4B754}" srcOrd="0" destOrd="0" parTransId="{2F5D37B1-4006-4E6D-A6C0-D10BEF8C7F56}" sibTransId="{0214A204-05B4-4542-B3CD-DC938951D730}"/>
    <dgm:cxn modelId="{E4E3F542-B118-4DEF-A846-C7DB49E4D7E9}" type="presParOf" srcId="{0A7C1DAC-E1A3-451B-8353-83779A5614BB}" destId="{639CFCE5-FAF0-419E-8E75-8797FA8C8C28}" srcOrd="0" destOrd="0" presId="urn:microsoft.com/office/officeart/2005/8/layout/process1"/>
    <dgm:cxn modelId="{27D1D9A5-E753-47DB-AB59-BA31140C011E}" type="presParOf" srcId="{0A7C1DAC-E1A3-451B-8353-83779A5614BB}" destId="{35B837E2-F2C9-4C99-98AC-A39D588F9264}" srcOrd="1" destOrd="0" presId="urn:microsoft.com/office/officeart/2005/8/layout/process1"/>
    <dgm:cxn modelId="{2EDE4BB9-03D9-44F6-A1F8-EC17F28B283F}" type="presParOf" srcId="{35B837E2-F2C9-4C99-98AC-A39D588F9264}" destId="{E4896CD6-45AF-4923-84A3-423025B93E2F}" srcOrd="0" destOrd="0" presId="urn:microsoft.com/office/officeart/2005/8/layout/process1"/>
    <dgm:cxn modelId="{1F09885F-E44B-4D3E-9FD9-A5D60FFA81CC}" type="presParOf" srcId="{0A7C1DAC-E1A3-451B-8353-83779A5614BB}" destId="{4E02BE46-C631-478C-8172-4FF67ACF4F5C}" srcOrd="2" destOrd="0" presId="urn:microsoft.com/office/officeart/2005/8/layout/process1"/>
    <dgm:cxn modelId="{2B2D026E-7CF9-4153-9327-550CF193AC2E}" type="presParOf" srcId="{0A7C1DAC-E1A3-451B-8353-83779A5614BB}" destId="{A6F29520-B477-4C31-BCFF-39D9AFF60BB4}" srcOrd="3" destOrd="0" presId="urn:microsoft.com/office/officeart/2005/8/layout/process1"/>
    <dgm:cxn modelId="{75799FB8-27AF-4A17-94DF-E2444049B21E}" type="presParOf" srcId="{A6F29520-B477-4C31-BCFF-39D9AFF60BB4}" destId="{CC878317-7A2A-4DF0-B1E1-FECD444AD1FF}" srcOrd="0" destOrd="0" presId="urn:microsoft.com/office/officeart/2005/8/layout/process1"/>
    <dgm:cxn modelId="{868D551E-CC52-4899-9B15-D80D1C781031}" type="presParOf" srcId="{0A7C1DAC-E1A3-451B-8353-83779A5614BB}" destId="{3026789A-2072-46DA-B3C7-14458A3185B0}" srcOrd="4" destOrd="0" presId="urn:microsoft.com/office/officeart/2005/8/layout/process1"/>
    <dgm:cxn modelId="{A197DB6D-CA2B-4A80-8304-0AC96540AC2A}" type="presParOf" srcId="{0A7C1DAC-E1A3-451B-8353-83779A5614BB}" destId="{271A4562-9D97-4360-B21B-C5661B35260D}" srcOrd="5" destOrd="0" presId="urn:microsoft.com/office/officeart/2005/8/layout/process1"/>
    <dgm:cxn modelId="{9B3EC62D-2F1F-4A0F-AD22-A9CC92A1F5EB}" type="presParOf" srcId="{271A4562-9D97-4360-B21B-C5661B35260D}" destId="{C53AB075-0569-4635-B531-7330D9255D82}" srcOrd="0" destOrd="0" presId="urn:microsoft.com/office/officeart/2005/8/layout/process1"/>
    <dgm:cxn modelId="{2D14C87B-6B5E-4B33-BA18-8D9E7ED8AB8D}" type="presParOf" srcId="{0A7C1DAC-E1A3-451B-8353-83779A5614BB}" destId="{91724BA9-D402-4EB5-9B21-7FF3BB0CC679}" srcOrd="6" destOrd="0" presId="urn:microsoft.com/office/officeart/2005/8/layout/process1"/>
    <dgm:cxn modelId="{A14D9E26-5EFC-45D8-92A1-72F64F92ADAA}" type="presParOf" srcId="{0A7C1DAC-E1A3-451B-8353-83779A5614BB}" destId="{DA7C8EA8-E315-49A9-A92A-99334D18DC00}" srcOrd="7" destOrd="0" presId="urn:microsoft.com/office/officeart/2005/8/layout/process1"/>
    <dgm:cxn modelId="{48C9BC04-52C2-4146-9CF8-C6054AE76F85}" type="presParOf" srcId="{DA7C8EA8-E315-49A9-A92A-99334D18DC00}" destId="{49CE568C-06E0-4E56-9E4B-3FBBE81CA077}" srcOrd="0" destOrd="0" presId="urn:microsoft.com/office/officeart/2005/8/layout/process1"/>
    <dgm:cxn modelId="{0FE1CBC6-479B-4D02-8749-E3B1ED66C41D}" type="presParOf" srcId="{0A7C1DAC-E1A3-451B-8353-83779A5614BB}" destId="{B4FD00E7-9CEB-4AEC-BEA2-0CBF7A37724B}" srcOrd="8"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8002D6A-0C88-4ACB-8347-7791A957725E}" type="doc">
      <dgm:prSet loTypeId="urn:microsoft.com/office/officeart/2005/8/layout/process1" loCatId="process" qsTypeId="urn:microsoft.com/office/officeart/2005/8/quickstyle/simple1" qsCatId="simple" csTypeId="urn:microsoft.com/office/officeart/2005/8/colors/accent0_2" csCatId="mainScheme" phldr="1"/>
      <dgm:spPr/>
      <dgm:t>
        <a:bodyPr/>
        <a:lstStyle/>
        <a:p>
          <a:endParaRPr lang="en-GB"/>
        </a:p>
      </dgm:t>
    </dgm:pt>
    <dgm:pt modelId="{EE6A13BB-434D-48CE-9FFA-4EFFF5F4B754}">
      <dgm:prSet phldrT="[Text]"/>
      <dgm:spPr>
        <a:solidFill>
          <a:schemeClr val="accent6">
            <a:lumMod val="60000"/>
            <a:lumOff val="40000"/>
          </a:schemeClr>
        </a:solidFill>
      </dgm:spPr>
      <dgm:t>
        <a:bodyPr/>
        <a:lstStyle/>
        <a:p>
          <a:r>
            <a:rPr lang="en-GB"/>
            <a:t>Through the system, any volunteer may submit a Good Service Award nomination, including supporting information, attachments and the citation</a:t>
          </a:r>
        </a:p>
      </dgm:t>
    </dgm:pt>
    <dgm:pt modelId="{2F5D37B1-4006-4E6D-A6C0-D10BEF8C7F56}" type="parTrans" cxnId="{A13D37FC-0795-4CA7-8660-7DDB68D4FBF4}">
      <dgm:prSet/>
      <dgm:spPr/>
      <dgm:t>
        <a:bodyPr/>
        <a:lstStyle/>
        <a:p>
          <a:endParaRPr lang="en-GB"/>
        </a:p>
      </dgm:t>
    </dgm:pt>
    <dgm:pt modelId="{0214A204-05B4-4542-B3CD-DC938951D730}" type="sibTrans" cxnId="{A13D37FC-0795-4CA7-8660-7DDB68D4FBF4}">
      <dgm:prSet/>
      <dgm:spPr/>
      <dgm:t>
        <a:bodyPr/>
        <a:lstStyle/>
        <a:p>
          <a:endParaRPr lang="en-GB"/>
        </a:p>
      </dgm:t>
    </dgm:pt>
    <dgm:pt modelId="{4DCC442E-B802-4669-A4D2-7C744261F497}">
      <dgm:prSet phldrT="[Text]"/>
      <dgm:spPr>
        <a:solidFill>
          <a:schemeClr val="accent6">
            <a:lumMod val="60000"/>
            <a:lumOff val="40000"/>
          </a:schemeClr>
        </a:solidFill>
      </dgm:spPr>
      <dgm:t>
        <a:bodyPr/>
        <a:lstStyle/>
        <a:p>
          <a:r>
            <a:rPr lang="en-GB"/>
            <a:t>At the time of creating the submission, the system checks whether award criteria are met to allow for the creation of the nomination to proceed</a:t>
          </a:r>
        </a:p>
      </dgm:t>
    </dgm:pt>
    <dgm:pt modelId="{43F6DCA4-44A6-4605-A61E-D4478F2F5913}" type="parTrans" cxnId="{A111DFEB-BAC8-4F42-8EF4-EA6411A27226}">
      <dgm:prSet/>
      <dgm:spPr/>
      <dgm:t>
        <a:bodyPr/>
        <a:lstStyle/>
        <a:p>
          <a:endParaRPr lang="en-GB"/>
        </a:p>
      </dgm:t>
    </dgm:pt>
    <dgm:pt modelId="{8222208C-F9CD-4E23-8BB0-6130A01A71FD}" type="sibTrans" cxnId="{A111DFEB-BAC8-4F42-8EF4-EA6411A27226}">
      <dgm:prSet/>
      <dgm:spPr/>
      <dgm:t>
        <a:bodyPr/>
        <a:lstStyle/>
        <a:p>
          <a:endParaRPr lang="en-GB"/>
        </a:p>
      </dgm:t>
    </dgm:pt>
    <dgm:pt modelId="{ACAA8BB1-AB41-4124-AD07-BA868CF8C6E0}">
      <dgm:prSet phldrT="[Text]"/>
      <dgm:spPr>
        <a:solidFill>
          <a:schemeClr val="accent6">
            <a:lumMod val="20000"/>
            <a:lumOff val="80000"/>
          </a:schemeClr>
        </a:solidFill>
      </dgm:spPr>
      <dgm:t>
        <a:bodyPr/>
        <a:lstStyle/>
        <a:p>
          <a:r>
            <a:rPr lang="en-GB"/>
            <a:t>Approved Good Service Award nomination sent to HQ by system</a:t>
          </a:r>
        </a:p>
      </dgm:t>
    </dgm:pt>
    <dgm:pt modelId="{70F2778A-65C7-41BC-A7F1-4A89AD6AB862}" type="parTrans" cxnId="{E2E6FE2C-3AB5-42C4-9838-E9C2F16650DB}">
      <dgm:prSet/>
      <dgm:spPr/>
      <dgm:t>
        <a:bodyPr/>
        <a:lstStyle/>
        <a:p>
          <a:endParaRPr lang="en-GB"/>
        </a:p>
      </dgm:t>
    </dgm:pt>
    <dgm:pt modelId="{91C0AB84-FC5F-414D-9428-4508F1396B90}" type="sibTrans" cxnId="{E2E6FE2C-3AB5-42C4-9838-E9C2F16650DB}">
      <dgm:prSet/>
      <dgm:spPr/>
      <dgm:t>
        <a:bodyPr/>
        <a:lstStyle/>
        <a:p>
          <a:endParaRPr lang="en-GB"/>
        </a:p>
      </dgm:t>
    </dgm:pt>
    <dgm:pt modelId="{D00F8665-5BD7-4938-B9D4-ACD3F4B0A9BA}">
      <dgm:prSet phldrT="[Text]"/>
      <dgm:spPr>
        <a:solidFill>
          <a:schemeClr val="accent6">
            <a:lumMod val="20000"/>
            <a:lumOff val="80000"/>
          </a:schemeClr>
        </a:solidFill>
      </dgm:spPr>
      <dgm:t>
        <a:bodyPr/>
        <a:lstStyle/>
        <a:p>
          <a:r>
            <a:rPr lang="en-GB"/>
            <a:t>Awards sent out by HQ quarterly to the  accredited Awards parcel recipient</a:t>
          </a:r>
        </a:p>
      </dgm:t>
    </dgm:pt>
    <dgm:pt modelId="{A01931CF-B9AA-408F-9339-FF7D077CE7C4}" type="parTrans" cxnId="{4FB20153-ECE0-487B-84C0-CD849165AB7A}">
      <dgm:prSet/>
      <dgm:spPr/>
      <dgm:t>
        <a:bodyPr/>
        <a:lstStyle/>
        <a:p>
          <a:endParaRPr lang="en-GB"/>
        </a:p>
      </dgm:t>
    </dgm:pt>
    <dgm:pt modelId="{04F59425-3E33-4342-A683-A462094A75CE}" type="sibTrans" cxnId="{4FB20153-ECE0-487B-84C0-CD849165AB7A}">
      <dgm:prSet/>
      <dgm:spPr/>
      <dgm:t>
        <a:bodyPr/>
        <a:lstStyle/>
        <a:p>
          <a:endParaRPr lang="en-GB"/>
        </a:p>
      </dgm:t>
    </dgm:pt>
    <dgm:pt modelId="{15FFE089-FF42-4C49-89DC-7014BCBF40B7}">
      <dgm:prSet phldrT="[Text]"/>
      <dgm:spPr>
        <a:solidFill>
          <a:schemeClr val="accent6">
            <a:lumMod val="60000"/>
            <a:lumOff val="40000"/>
          </a:schemeClr>
        </a:solidFill>
      </dgm:spPr>
      <dgm:t>
        <a:bodyPr/>
        <a:lstStyle/>
        <a:p>
          <a:r>
            <a:rPr lang="en-GB"/>
            <a:t>On the system, the Lead Volunteer or Approver will then review (and edit if required) the nomination and approve or reject this</a:t>
          </a:r>
        </a:p>
      </dgm:t>
    </dgm:pt>
    <dgm:pt modelId="{A8829714-FBB7-412F-A866-F694B8F5D427}" type="parTrans" cxnId="{6F7302E8-6149-4647-B1AE-B9E74CAC8D20}">
      <dgm:prSet/>
      <dgm:spPr/>
      <dgm:t>
        <a:bodyPr/>
        <a:lstStyle/>
        <a:p>
          <a:endParaRPr lang="en-GB"/>
        </a:p>
      </dgm:t>
    </dgm:pt>
    <dgm:pt modelId="{AF34DE8B-767B-46CA-821B-4AE87164BF82}" type="sibTrans" cxnId="{6F7302E8-6149-4647-B1AE-B9E74CAC8D20}">
      <dgm:prSet/>
      <dgm:spPr/>
      <dgm:t>
        <a:bodyPr/>
        <a:lstStyle/>
        <a:p>
          <a:endParaRPr lang="en-GB"/>
        </a:p>
      </dgm:t>
    </dgm:pt>
    <dgm:pt modelId="{0A7C1DAC-E1A3-451B-8353-83779A5614BB}" type="pres">
      <dgm:prSet presAssocID="{E8002D6A-0C88-4ACB-8347-7791A957725E}" presName="Name0" presStyleCnt="0">
        <dgm:presLayoutVars>
          <dgm:dir/>
          <dgm:resizeHandles val="exact"/>
        </dgm:presLayoutVars>
      </dgm:prSet>
      <dgm:spPr/>
    </dgm:pt>
    <dgm:pt modelId="{639CFCE5-FAF0-419E-8E75-8797FA8C8C28}" type="pres">
      <dgm:prSet presAssocID="{EE6A13BB-434D-48CE-9FFA-4EFFF5F4B754}" presName="node" presStyleLbl="node1" presStyleIdx="0" presStyleCnt="5">
        <dgm:presLayoutVars>
          <dgm:bulletEnabled val="1"/>
        </dgm:presLayoutVars>
      </dgm:prSet>
      <dgm:spPr/>
    </dgm:pt>
    <dgm:pt modelId="{35B837E2-F2C9-4C99-98AC-A39D588F9264}" type="pres">
      <dgm:prSet presAssocID="{0214A204-05B4-4542-B3CD-DC938951D730}" presName="sibTrans" presStyleLbl="sibTrans2D1" presStyleIdx="0" presStyleCnt="4"/>
      <dgm:spPr/>
    </dgm:pt>
    <dgm:pt modelId="{E4896CD6-45AF-4923-84A3-423025B93E2F}" type="pres">
      <dgm:prSet presAssocID="{0214A204-05B4-4542-B3CD-DC938951D730}" presName="connectorText" presStyleLbl="sibTrans2D1" presStyleIdx="0" presStyleCnt="4"/>
      <dgm:spPr/>
    </dgm:pt>
    <dgm:pt modelId="{4E02BE46-C631-478C-8172-4FF67ACF4F5C}" type="pres">
      <dgm:prSet presAssocID="{4DCC442E-B802-4669-A4D2-7C744261F497}" presName="node" presStyleLbl="node1" presStyleIdx="1" presStyleCnt="5">
        <dgm:presLayoutVars>
          <dgm:bulletEnabled val="1"/>
        </dgm:presLayoutVars>
      </dgm:prSet>
      <dgm:spPr/>
    </dgm:pt>
    <dgm:pt modelId="{A6F29520-B477-4C31-BCFF-39D9AFF60BB4}" type="pres">
      <dgm:prSet presAssocID="{8222208C-F9CD-4E23-8BB0-6130A01A71FD}" presName="sibTrans" presStyleLbl="sibTrans2D1" presStyleIdx="1" presStyleCnt="4"/>
      <dgm:spPr/>
    </dgm:pt>
    <dgm:pt modelId="{CC878317-7A2A-4DF0-B1E1-FECD444AD1FF}" type="pres">
      <dgm:prSet presAssocID="{8222208C-F9CD-4E23-8BB0-6130A01A71FD}" presName="connectorText" presStyleLbl="sibTrans2D1" presStyleIdx="1" presStyleCnt="4"/>
      <dgm:spPr/>
    </dgm:pt>
    <dgm:pt modelId="{3026789A-2072-46DA-B3C7-14458A3185B0}" type="pres">
      <dgm:prSet presAssocID="{15FFE089-FF42-4C49-89DC-7014BCBF40B7}" presName="node" presStyleLbl="node1" presStyleIdx="2" presStyleCnt="5">
        <dgm:presLayoutVars>
          <dgm:bulletEnabled val="1"/>
        </dgm:presLayoutVars>
      </dgm:prSet>
      <dgm:spPr/>
    </dgm:pt>
    <dgm:pt modelId="{271A4562-9D97-4360-B21B-C5661B35260D}" type="pres">
      <dgm:prSet presAssocID="{AF34DE8B-767B-46CA-821B-4AE87164BF82}" presName="sibTrans" presStyleLbl="sibTrans2D1" presStyleIdx="2" presStyleCnt="4"/>
      <dgm:spPr/>
    </dgm:pt>
    <dgm:pt modelId="{C53AB075-0569-4635-B531-7330D9255D82}" type="pres">
      <dgm:prSet presAssocID="{AF34DE8B-767B-46CA-821B-4AE87164BF82}" presName="connectorText" presStyleLbl="sibTrans2D1" presStyleIdx="2" presStyleCnt="4"/>
      <dgm:spPr/>
    </dgm:pt>
    <dgm:pt modelId="{91724BA9-D402-4EB5-9B21-7FF3BB0CC679}" type="pres">
      <dgm:prSet presAssocID="{ACAA8BB1-AB41-4124-AD07-BA868CF8C6E0}" presName="node" presStyleLbl="node1" presStyleIdx="3" presStyleCnt="5">
        <dgm:presLayoutVars>
          <dgm:bulletEnabled val="1"/>
        </dgm:presLayoutVars>
      </dgm:prSet>
      <dgm:spPr/>
    </dgm:pt>
    <dgm:pt modelId="{DA7C8EA8-E315-49A9-A92A-99334D18DC00}" type="pres">
      <dgm:prSet presAssocID="{91C0AB84-FC5F-414D-9428-4508F1396B90}" presName="sibTrans" presStyleLbl="sibTrans2D1" presStyleIdx="3" presStyleCnt="4"/>
      <dgm:spPr/>
    </dgm:pt>
    <dgm:pt modelId="{49CE568C-06E0-4E56-9E4B-3FBBE81CA077}" type="pres">
      <dgm:prSet presAssocID="{91C0AB84-FC5F-414D-9428-4508F1396B90}" presName="connectorText" presStyleLbl="sibTrans2D1" presStyleIdx="3" presStyleCnt="4"/>
      <dgm:spPr/>
    </dgm:pt>
    <dgm:pt modelId="{B4FD00E7-9CEB-4AEC-BEA2-0CBF7A37724B}" type="pres">
      <dgm:prSet presAssocID="{D00F8665-5BD7-4938-B9D4-ACD3F4B0A9BA}" presName="node" presStyleLbl="node1" presStyleIdx="4" presStyleCnt="5">
        <dgm:presLayoutVars>
          <dgm:bulletEnabled val="1"/>
        </dgm:presLayoutVars>
      </dgm:prSet>
      <dgm:spPr/>
    </dgm:pt>
  </dgm:ptLst>
  <dgm:cxnLst>
    <dgm:cxn modelId="{3D513500-1735-45C2-B6EC-04CF1A56EB34}" type="presOf" srcId="{15FFE089-FF42-4C49-89DC-7014BCBF40B7}" destId="{3026789A-2072-46DA-B3C7-14458A3185B0}" srcOrd="0" destOrd="0" presId="urn:microsoft.com/office/officeart/2005/8/layout/process1"/>
    <dgm:cxn modelId="{08004D0C-C637-4F6D-8B64-4134B3873791}" type="presOf" srcId="{4DCC442E-B802-4669-A4D2-7C744261F497}" destId="{4E02BE46-C631-478C-8172-4FF67ACF4F5C}" srcOrd="0" destOrd="0" presId="urn:microsoft.com/office/officeart/2005/8/layout/process1"/>
    <dgm:cxn modelId="{3034540D-3B08-45C5-8362-BA43D04E6EA7}" type="presOf" srcId="{8222208C-F9CD-4E23-8BB0-6130A01A71FD}" destId="{A6F29520-B477-4C31-BCFF-39D9AFF60BB4}" srcOrd="0" destOrd="0" presId="urn:microsoft.com/office/officeart/2005/8/layout/process1"/>
    <dgm:cxn modelId="{5F284C10-4341-4D38-90ED-F5DFC82D86B9}" type="presOf" srcId="{ACAA8BB1-AB41-4124-AD07-BA868CF8C6E0}" destId="{91724BA9-D402-4EB5-9B21-7FF3BB0CC679}" srcOrd="0" destOrd="0" presId="urn:microsoft.com/office/officeart/2005/8/layout/process1"/>
    <dgm:cxn modelId="{19BFDD2C-3F42-495C-97C8-6E357B39C263}" type="presOf" srcId="{0214A204-05B4-4542-B3CD-DC938951D730}" destId="{E4896CD6-45AF-4923-84A3-423025B93E2F}" srcOrd="1" destOrd="0" presId="urn:microsoft.com/office/officeart/2005/8/layout/process1"/>
    <dgm:cxn modelId="{E2E6FE2C-3AB5-42C4-9838-E9C2F16650DB}" srcId="{E8002D6A-0C88-4ACB-8347-7791A957725E}" destId="{ACAA8BB1-AB41-4124-AD07-BA868CF8C6E0}" srcOrd="3" destOrd="0" parTransId="{70F2778A-65C7-41BC-A7F1-4A89AD6AB862}" sibTransId="{91C0AB84-FC5F-414D-9428-4508F1396B90}"/>
    <dgm:cxn modelId="{CAC9232F-8DBA-4689-B325-60FD79647884}" type="presOf" srcId="{91C0AB84-FC5F-414D-9428-4508F1396B90}" destId="{49CE568C-06E0-4E56-9E4B-3FBBE81CA077}" srcOrd="1" destOrd="0" presId="urn:microsoft.com/office/officeart/2005/8/layout/process1"/>
    <dgm:cxn modelId="{40CE7137-96A5-4D14-9E06-00E96AE457D3}" type="presOf" srcId="{0214A204-05B4-4542-B3CD-DC938951D730}" destId="{35B837E2-F2C9-4C99-98AC-A39D588F9264}" srcOrd="0" destOrd="0" presId="urn:microsoft.com/office/officeart/2005/8/layout/process1"/>
    <dgm:cxn modelId="{01AC5363-4AFF-4681-9860-A750661BDAC3}" type="presOf" srcId="{AF34DE8B-767B-46CA-821B-4AE87164BF82}" destId="{271A4562-9D97-4360-B21B-C5661B35260D}" srcOrd="0" destOrd="0" presId="urn:microsoft.com/office/officeart/2005/8/layout/process1"/>
    <dgm:cxn modelId="{AD8C064A-3FFB-4C42-824B-8CA1576D0330}" type="presOf" srcId="{EE6A13BB-434D-48CE-9FFA-4EFFF5F4B754}" destId="{639CFCE5-FAF0-419E-8E75-8797FA8C8C28}" srcOrd="0" destOrd="0" presId="urn:microsoft.com/office/officeart/2005/8/layout/process1"/>
    <dgm:cxn modelId="{4FB20153-ECE0-487B-84C0-CD849165AB7A}" srcId="{E8002D6A-0C88-4ACB-8347-7791A957725E}" destId="{D00F8665-5BD7-4938-B9D4-ACD3F4B0A9BA}" srcOrd="4" destOrd="0" parTransId="{A01931CF-B9AA-408F-9339-FF7D077CE7C4}" sibTransId="{04F59425-3E33-4342-A683-A462094A75CE}"/>
    <dgm:cxn modelId="{822B158D-B318-45F6-8AD0-6A3A67E33533}" type="presOf" srcId="{E8002D6A-0C88-4ACB-8347-7791A957725E}" destId="{0A7C1DAC-E1A3-451B-8353-83779A5614BB}" srcOrd="0" destOrd="0" presId="urn:microsoft.com/office/officeart/2005/8/layout/process1"/>
    <dgm:cxn modelId="{3DB3DA9E-0249-45C1-8758-72B745B243B1}" type="presOf" srcId="{91C0AB84-FC5F-414D-9428-4508F1396B90}" destId="{DA7C8EA8-E315-49A9-A92A-99334D18DC00}" srcOrd="0" destOrd="0" presId="urn:microsoft.com/office/officeart/2005/8/layout/process1"/>
    <dgm:cxn modelId="{22DFECA2-0607-4210-AE07-16BF0EC6A30B}" type="presOf" srcId="{AF34DE8B-767B-46CA-821B-4AE87164BF82}" destId="{C53AB075-0569-4635-B531-7330D9255D82}" srcOrd="1" destOrd="0" presId="urn:microsoft.com/office/officeart/2005/8/layout/process1"/>
    <dgm:cxn modelId="{B42E7FA4-60ED-40BB-B1B7-F15F57E4FB58}" type="presOf" srcId="{D00F8665-5BD7-4938-B9D4-ACD3F4B0A9BA}" destId="{B4FD00E7-9CEB-4AEC-BEA2-0CBF7A37724B}" srcOrd="0" destOrd="0" presId="urn:microsoft.com/office/officeart/2005/8/layout/process1"/>
    <dgm:cxn modelId="{F64945C4-FC07-4602-AB3F-43EDC58CEF2A}" type="presOf" srcId="{8222208C-F9CD-4E23-8BB0-6130A01A71FD}" destId="{CC878317-7A2A-4DF0-B1E1-FECD444AD1FF}" srcOrd="1" destOrd="0" presId="urn:microsoft.com/office/officeart/2005/8/layout/process1"/>
    <dgm:cxn modelId="{6F7302E8-6149-4647-B1AE-B9E74CAC8D20}" srcId="{E8002D6A-0C88-4ACB-8347-7791A957725E}" destId="{15FFE089-FF42-4C49-89DC-7014BCBF40B7}" srcOrd="2" destOrd="0" parTransId="{A8829714-FBB7-412F-A866-F694B8F5D427}" sibTransId="{AF34DE8B-767B-46CA-821B-4AE87164BF82}"/>
    <dgm:cxn modelId="{A111DFEB-BAC8-4F42-8EF4-EA6411A27226}" srcId="{E8002D6A-0C88-4ACB-8347-7791A957725E}" destId="{4DCC442E-B802-4669-A4D2-7C744261F497}" srcOrd="1" destOrd="0" parTransId="{43F6DCA4-44A6-4605-A61E-D4478F2F5913}" sibTransId="{8222208C-F9CD-4E23-8BB0-6130A01A71FD}"/>
    <dgm:cxn modelId="{A13D37FC-0795-4CA7-8660-7DDB68D4FBF4}" srcId="{E8002D6A-0C88-4ACB-8347-7791A957725E}" destId="{EE6A13BB-434D-48CE-9FFA-4EFFF5F4B754}" srcOrd="0" destOrd="0" parTransId="{2F5D37B1-4006-4E6D-A6C0-D10BEF8C7F56}" sibTransId="{0214A204-05B4-4542-B3CD-DC938951D730}"/>
    <dgm:cxn modelId="{E4E3F542-B118-4DEF-A846-C7DB49E4D7E9}" type="presParOf" srcId="{0A7C1DAC-E1A3-451B-8353-83779A5614BB}" destId="{639CFCE5-FAF0-419E-8E75-8797FA8C8C28}" srcOrd="0" destOrd="0" presId="urn:microsoft.com/office/officeart/2005/8/layout/process1"/>
    <dgm:cxn modelId="{27D1D9A5-E753-47DB-AB59-BA31140C011E}" type="presParOf" srcId="{0A7C1DAC-E1A3-451B-8353-83779A5614BB}" destId="{35B837E2-F2C9-4C99-98AC-A39D588F9264}" srcOrd="1" destOrd="0" presId="urn:microsoft.com/office/officeart/2005/8/layout/process1"/>
    <dgm:cxn modelId="{2EDE4BB9-03D9-44F6-A1F8-EC17F28B283F}" type="presParOf" srcId="{35B837E2-F2C9-4C99-98AC-A39D588F9264}" destId="{E4896CD6-45AF-4923-84A3-423025B93E2F}" srcOrd="0" destOrd="0" presId="urn:microsoft.com/office/officeart/2005/8/layout/process1"/>
    <dgm:cxn modelId="{1F09885F-E44B-4D3E-9FD9-A5D60FFA81CC}" type="presParOf" srcId="{0A7C1DAC-E1A3-451B-8353-83779A5614BB}" destId="{4E02BE46-C631-478C-8172-4FF67ACF4F5C}" srcOrd="2" destOrd="0" presId="urn:microsoft.com/office/officeart/2005/8/layout/process1"/>
    <dgm:cxn modelId="{2B2D026E-7CF9-4153-9327-550CF193AC2E}" type="presParOf" srcId="{0A7C1DAC-E1A3-451B-8353-83779A5614BB}" destId="{A6F29520-B477-4C31-BCFF-39D9AFF60BB4}" srcOrd="3" destOrd="0" presId="urn:microsoft.com/office/officeart/2005/8/layout/process1"/>
    <dgm:cxn modelId="{75799FB8-27AF-4A17-94DF-E2444049B21E}" type="presParOf" srcId="{A6F29520-B477-4C31-BCFF-39D9AFF60BB4}" destId="{CC878317-7A2A-4DF0-B1E1-FECD444AD1FF}" srcOrd="0" destOrd="0" presId="urn:microsoft.com/office/officeart/2005/8/layout/process1"/>
    <dgm:cxn modelId="{868D551E-CC52-4899-9B15-D80D1C781031}" type="presParOf" srcId="{0A7C1DAC-E1A3-451B-8353-83779A5614BB}" destId="{3026789A-2072-46DA-B3C7-14458A3185B0}" srcOrd="4" destOrd="0" presId="urn:microsoft.com/office/officeart/2005/8/layout/process1"/>
    <dgm:cxn modelId="{A197DB6D-CA2B-4A80-8304-0AC96540AC2A}" type="presParOf" srcId="{0A7C1DAC-E1A3-451B-8353-83779A5614BB}" destId="{271A4562-9D97-4360-B21B-C5661B35260D}" srcOrd="5" destOrd="0" presId="urn:microsoft.com/office/officeart/2005/8/layout/process1"/>
    <dgm:cxn modelId="{9B3EC62D-2F1F-4A0F-AD22-A9CC92A1F5EB}" type="presParOf" srcId="{271A4562-9D97-4360-B21B-C5661B35260D}" destId="{C53AB075-0569-4635-B531-7330D9255D82}" srcOrd="0" destOrd="0" presId="urn:microsoft.com/office/officeart/2005/8/layout/process1"/>
    <dgm:cxn modelId="{2D14C87B-6B5E-4B33-BA18-8D9E7ED8AB8D}" type="presParOf" srcId="{0A7C1DAC-E1A3-451B-8353-83779A5614BB}" destId="{91724BA9-D402-4EB5-9B21-7FF3BB0CC679}" srcOrd="6" destOrd="0" presId="urn:microsoft.com/office/officeart/2005/8/layout/process1"/>
    <dgm:cxn modelId="{A14D9E26-5EFC-45D8-92A1-72F64F92ADAA}" type="presParOf" srcId="{0A7C1DAC-E1A3-451B-8353-83779A5614BB}" destId="{DA7C8EA8-E315-49A9-A92A-99334D18DC00}" srcOrd="7" destOrd="0" presId="urn:microsoft.com/office/officeart/2005/8/layout/process1"/>
    <dgm:cxn modelId="{48C9BC04-52C2-4146-9CF8-C6054AE76F85}" type="presParOf" srcId="{DA7C8EA8-E315-49A9-A92A-99334D18DC00}" destId="{49CE568C-06E0-4E56-9E4B-3FBBE81CA077}" srcOrd="0" destOrd="0" presId="urn:microsoft.com/office/officeart/2005/8/layout/process1"/>
    <dgm:cxn modelId="{0FE1CBC6-479B-4D02-8749-E3B1ED66C41D}" type="presParOf" srcId="{0A7C1DAC-E1A3-451B-8353-83779A5614BB}" destId="{B4FD00E7-9CEB-4AEC-BEA2-0CBF7A37724B}" srcOrd="8"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8002D6A-0C88-4ACB-8347-7791A957725E}" type="doc">
      <dgm:prSet loTypeId="urn:microsoft.com/office/officeart/2005/8/layout/process1" loCatId="process" qsTypeId="urn:microsoft.com/office/officeart/2005/8/quickstyle/simple1" qsCatId="simple" csTypeId="urn:microsoft.com/office/officeart/2005/8/colors/accent0_2" csCatId="mainScheme" phldr="1"/>
      <dgm:spPr/>
    </dgm:pt>
    <dgm:pt modelId="{08E664FB-C5CB-44FA-B432-E45E5913DFD1}">
      <dgm:prSet phldrT="[Text]"/>
      <dgm:spPr/>
      <dgm:t>
        <a:bodyPr/>
        <a:lstStyle/>
        <a:p>
          <a:r>
            <a:rPr lang="en-GB"/>
            <a:t>Volunteers submit their Nights Away Notifications (NAN), including risk assessment, through the system</a:t>
          </a:r>
        </a:p>
      </dgm:t>
    </dgm:pt>
    <dgm:pt modelId="{ECAFCE0C-BDEC-49AF-B365-63BE7BEAE05F}" type="parTrans" cxnId="{D6D3F545-6AAC-495F-AE73-F826A4E3E459}">
      <dgm:prSet/>
      <dgm:spPr/>
      <dgm:t>
        <a:bodyPr/>
        <a:lstStyle/>
        <a:p>
          <a:endParaRPr lang="en-GB"/>
        </a:p>
      </dgm:t>
    </dgm:pt>
    <dgm:pt modelId="{94F162BC-C234-44A6-BB21-377A3A804FB0}" type="sibTrans" cxnId="{D6D3F545-6AAC-495F-AE73-F826A4E3E459}">
      <dgm:prSet/>
      <dgm:spPr/>
      <dgm:t>
        <a:bodyPr/>
        <a:lstStyle/>
        <a:p>
          <a:endParaRPr lang="en-GB"/>
        </a:p>
      </dgm:t>
    </dgm:pt>
    <dgm:pt modelId="{EE6A13BB-434D-48CE-9FFA-4EFFF5F4B754}">
      <dgm:prSet phldrT="[Text]"/>
      <dgm:spPr/>
      <dgm:t>
        <a:bodyPr/>
        <a:lstStyle/>
        <a:p>
          <a:r>
            <a:rPr lang="en-GB"/>
            <a:t>System adds permit details, learning compliance and criminal records check status of all attending adult members</a:t>
          </a:r>
        </a:p>
      </dgm:t>
    </dgm:pt>
    <dgm:pt modelId="{2F5D37B1-4006-4E6D-A6C0-D10BEF8C7F56}" type="parTrans" cxnId="{A13D37FC-0795-4CA7-8660-7DDB68D4FBF4}">
      <dgm:prSet/>
      <dgm:spPr/>
      <dgm:t>
        <a:bodyPr/>
        <a:lstStyle/>
        <a:p>
          <a:endParaRPr lang="en-GB"/>
        </a:p>
      </dgm:t>
    </dgm:pt>
    <dgm:pt modelId="{0214A204-05B4-4542-B3CD-DC938951D730}" type="sibTrans" cxnId="{A13D37FC-0795-4CA7-8660-7DDB68D4FBF4}">
      <dgm:prSet/>
      <dgm:spPr/>
      <dgm:t>
        <a:bodyPr/>
        <a:lstStyle/>
        <a:p>
          <a:endParaRPr lang="en-GB"/>
        </a:p>
      </dgm:t>
    </dgm:pt>
    <dgm:pt modelId="{4DCC442E-B802-4669-A4D2-7C744261F497}">
      <dgm:prSet phldrT="[Text]"/>
      <dgm:spPr/>
      <dgm:t>
        <a:bodyPr/>
        <a:lstStyle/>
        <a:p>
          <a:r>
            <a:rPr lang="en-GB"/>
            <a:t>On the system, Lead Volunteer or accredited Nights Away Approver reviews the NAN form and attached supporting documents</a:t>
          </a:r>
        </a:p>
      </dgm:t>
    </dgm:pt>
    <dgm:pt modelId="{43F6DCA4-44A6-4605-A61E-D4478F2F5913}" type="parTrans" cxnId="{A111DFEB-BAC8-4F42-8EF4-EA6411A27226}">
      <dgm:prSet/>
      <dgm:spPr/>
      <dgm:t>
        <a:bodyPr/>
        <a:lstStyle/>
        <a:p>
          <a:endParaRPr lang="en-GB"/>
        </a:p>
      </dgm:t>
    </dgm:pt>
    <dgm:pt modelId="{8222208C-F9CD-4E23-8BB0-6130A01A71FD}" type="sibTrans" cxnId="{A111DFEB-BAC8-4F42-8EF4-EA6411A27226}">
      <dgm:prSet/>
      <dgm:spPr/>
      <dgm:t>
        <a:bodyPr/>
        <a:lstStyle/>
        <a:p>
          <a:endParaRPr lang="en-GB"/>
        </a:p>
      </dgm:t>
    </dgm:pt>
    <dgm:pt modelId="{ACAA8BB1-AB41-4124-AD07-BA868CF8C6E0}">
      <dgm:prSet phldrT="[Text]"/>
      <dgm:spPr/>
      <dgm:t>
        <a:bodyPr/>
        <a:lstStyle/>
        <a:p>
          <a:r>
            <a:rPr lang="en-GB"/>
            <a:t>On the system Lead Volunteer or Nights Away Approver approves or rejects the NAN</a:t>
          </a:r>
        </a:p>
      </dgm:t>
    </dgm:pt>
    <dgm:pt modelId="{70F2778A-65C7-41BC-A7F1-4A89AD6AB862}" type="parTrans" cxnId="{E2E6FE2C-3AB5-42C4-9838-E9C2F16650DB}">
      <dgm:prSet/>
      <dgm:spPr/>
      <dgm:t>
        <a:bodyPr/>
        <a:lstStyle/>
        <a:p>
          <a:endParaRPr lang="en-GB"/>
        </a:p>
      </dgm:t>
    </dgm:pt>
    <dgm:pt modelId="{91C0AB84-FC5F-414D-9428-4508F1396B90}" type="sibTrans" cxnId="{E2E6FE2C-3AB5-42C4-9838-E9C2F16650DB}">
      <dgm:prSet/>
      <dgm:spPr/>
      <dgm:t>
        <a:bodyPr/>
        <a:lstStyle/>
        <a:p>
          <a:endParaRPr lang="en-GB"/>
        </a:p>
      </dgm:t>
    </dgm:pt>
    <dgm:pt modelId="{0A7C1DAC-E1A3-451B-8353-83779A5614BB}" type="pres">
      <dgm:prSet presAssocID="{E8002D6A-0C88-4ACB-8347-7791A957725E}" presName="Name0" presStyleCnt="0">
        <dgm:presLayoutVars>
          <dgm:dir/>
          <dgm:resizeHandles val="exact"/>
        </dgm:presLayoutVars>
      </dgm:prSet>
      <dgm:spPr/>
    </dgm:pt>
    <dgm:pt modelId="{29417C91-6FA9-47F2-99D0-D02991635E78}" type="pres">
      <dgm:prSet presAssocID="{08E664FB-C5CB-44FA-B432-E45E5913DFD1}" presName="node" presStyleLbl="node1" presStyleIdx="0" presStyleCnt="4" custLinFactNeighborX="-1462" custLinFactNeighborY="-16584">
        <dgm:presLayoutVars>
          <dgm:bulletEnabled val="1"/>
        </dgm:presLayoutVars>
      </dgm:prSet>
      <dgm:spPr/>
    </dgm:pt>
    <dgm:pt modelId="{0F0126AF-AAB7-4CB7-AECF-A04D12C56C5E}" type="pres">
      <dgm:prSet presAssocID="{94F162BC-C234-44A6-BB21-377A3A804FB0}" presName="sibTrans" presStyleLbl="sibTrans2D1" presStyleIdx="0" presStyleCnt="3"/>
      <dgm:spPr/>
    </dgm:pt>
    <dgm:pt modelId="{0E7BDC97-DE90-4DF3-BF1D-C91EC6D5C55B}" type="pres">
      <dgm:prSet presAssocID="{94F162BC-C234-44A6-BB21-377A3A804FB0}" presName="connectorText" presStyleLbl="sibTrans2D1" presStyleIdx="0" presStyleCnt="3"/>
      <dgm:spPr/>
    </dgm:pt>
    <dgm:pt modelId="{639CFCE5-FAF0-419E-8E75-8797FA8C8C28}" type="pres">
      <dgm:prSet presAssocID="{EE6A13BB-434D-48CE-9FFA-4EFFF5F4B754}" presName="node" presStyleLbl="node1" presStyleIdx="1" presStyleCnt="4" custLinFactNeighborX="-1462" custLinFactNeighborY="-16584">
        <dgm:presLayoutVars>
          <dgm:bulletEnabled val="1"/>
        </dgm:presLayoutVars>
      </dgm:prSet>
      <dgm:spPr/>
    </dgm:pt>
    <dgm:pt modelId="{35B837E2-F2C9-4C99-98AC-A39D588F9264}" type="pres">
      <dgm:prSet presAssocID="{0214A204-05B4-4542-B3CD-DC938951D730}" presName="sibTrans" presStyleLbl="sibTrans2D1" presStyleIdx="1" presStyleCnt="3"/>
      <dgm:spPr/>
    </dgm:pt>
    <dgm:pt modelId="{E4896CD6-45AF-4923-84A3-423025B93E2F}" type="pres">
      <dgm:prSet presAssocID="{0214A204-05B4-4542-B3CD-DC938951D730}" presName="connectorText" presStyleLbl="sibTrans2D1" presStyleIdx="1" presStyleCnt="3"/>
      <dgm:spPr/>
    </dgm:pt>
    <dgm:pt modelId="{4E02BE46-C631-478C-8172-4FF67ACF4F5C}" type="pres">
      <dgm:prSet presAssocID="{4DCC442E-B802-4669-A4D2-7C744261F497}" presName="node" presStyleLbl="node1" presStyleIdx="2" presStyleCnt="4" custLinFactNeighborX="-1462" custLinFactNeighborY="-16584">
        <dgm:presLayoutVars>
          <dgm:bulletEnabled val="1"/>
        </dgm:presLayoutVars>
      </dgm:prSet>
      <dgm:spPr/>
    </dgm:pt>
    <dgm:pt modelId="{A6F29520-B477-4C31-BCFF-39D9AFF60BB4}" type="pres">
      <dgm:prSet presAssocID="{8222208C-F9CD-4E23-8BB0-6130A01A71FD}" presName="sibTrans" presStyleLbl="sibTrans2D1" presStyleIdx="2" presStyleCnt="3"/>
      <dgm:spPr/>
    </dgm:pt>
    <dgm:pt modelId="{CC878317-7A2A-4DF0-B1E1-FECD444AD1FF}" type="pres">
      <dgm:prSet presAssocID="{8222208C-F9CD-4E23-8BB0-6130A01A71FD}" presName="connectorText" presStyleLbl="sibTrans2D1" presStyleIdx="2" presStyleCnt="3"/>
      <dgm:spPr/>
    </dgm:pt>
    <dgm:pt modelId="{91724BA9-D402-4EB5-9B21-7FF3BB0CC679}" type="pres">
      <dgm:prSet presAssocID="{ACAA8BB1-AB41-4124-AD07-BA868CF8C6E0}" presName="node" presStyleLbl="node1" presStyleIdx="3" presStyleCnt="4" custLinFactNeighborX="-1462" custLinFactNeighborY="-16584">
        <dgm:presLayoutVars>
          <dgm:bulletEnabled val="1"/>
        </dgm:presLayoutVars>
      </dgm:prSet>
      <dgm:spPr/>
    </dgm:pt>
  </dgm:ptLst>
  <dgm:cxnLst>
    <dgm:cxn modelId="{82350308-D9C8-40AA-AD35-088FFFAFF1AD}" type="presOf" srcId="{08E664FB-C5CB-44FA-B432-E45E5913DFD1}" destId="{29417C91-6FA9-47F2-99D0-D02991635E78}" srcOrd="0" destOrd="0" presId="urn:microsoft.com/office/officeart/2005/8/layout/process1"/>
    <dgm:cxn modelId="{08004D0C-C637-4F6D-8B64-4134B3873791}" type="presOf" srcId="{4DCC442E-B802-4669-A4D2-7C744261F497}" destId="{4E02BE46-C631-478C-8172-4FF67ACF4F5C}" srcOrd="0" destOrd="0" presId="urn:microsoft.com/office/officeart/2005/8/layout/process1"/>
    <dgm:cxn modelId="{3034540D-3B08-45C5-8362-BA43D04E6EA7}" type="presOf" srcId="{8222208C-F9CD-4E23-8BB0-6130A01A71FD}" destId="{A6F29520-B477-4C31-BCFF-39D9AFF60BB4}" srcOrd="0" destOrd="0" presId="urn:microsoft.com/office/officeart/2005/8/layout/process1"/>
    <dgm:cxn modelId="{5F284C10-4341-4D38-90ED-F5DFC82D86B9}" type="presOf" srcId="{ACAA8BB1-AB41-4124-AD07-BA868CF8C6E0}" destId="{91724BA9-D402-4EB5-9B21-7FF3BB0CC679}" srcOrd="0" destOrd="0" presId="urn:microsoft.com/office/officeart/2005/8/layout/process1"/>
    <dgm:cxn modelId="{19BFDD2C-3F42-495C-97C8-6E357B39C263}" type="presOf" srcId="{0214A204-05B4-4542-B3CD-DC938951D730}" destId="{E4896CD6-45AF-4923-84A3-423025B93E2F}" srcOrd="1" destOrd="0" presId="urn:microsoft.com/office/officeart/2005/8/layout/process1"/>
    <dgm:cxn modelId="{E2E6FE2C-3AB5-42C4-9838-E9C2F16650DB}" srcId="{E8002D6A-0C88-4ACB-8347-7791A957725E}" destId="{ACAA8BB1-AB41-4124-AD07-BA868CF8C6E0}" srcOrd="3" destOrd="0" parTransId="{70F2778A-65C7-41BC-A7F1-4A89AD6AB862}" sibTransId="{91C0AB84-FC5F-414D-9428-4508F1396B90}"/>
    <dgm:cxn modelId="{40CE7137-96A5-4D14-9E06-00E96AE457D3}" type="presOf" srcId="{0214A204-05B4-4542-B3CD-DC938951D730}" destId="{35B837E2-F2C9-4C99-98AC-A39D588F9264}" srcOrd="0" destOrd="0" presId="urn:microsoft.com/office/officeart/2005/8/layout/process1"/>
    <dgm:cxn modelId="{D6D3F545-6AAC-495F-AE73-F826A4E3E459}" srcId="{E8002D6A-0C88-4ACB-8347-7791A957725E}" destId="{08E664FB-C5CB-44FA-B432-E45E5913DFD1}" srcOrd="0" destOrd="0" parTransId="{ECAFCE0C-BDEC-49AF-B365-63BE7BEAE05F}" sibTransId="{94F162BC-C234-44A6-BB21-377A3A804FB0}"/>
    <dgm:cxn modelId="{AD8C064A-3FFB-4C42-824B-8CA1576D0330}" type="presOf" srcId="{EE6A13BB-434D-48CE-9FFA-4EFFF5F4B754}" destId="{639CFCE5-FAF0-419E-8E75-8797FA8C8C28}" srcOrd="0" destOrd="0" presId="urn:microsoft.com/office/officeart/2005/8/layout/process1"/>
    <dgm:cxn modelId="{1B5E7D8C-9FC6-4714-BDCA-DF3FF8C70E43}" type="presOf" srcId="{94F162BC-C234-44A6-BB21-377A3A804FB0}" destId="{0E7BDC97-DE90-4DF3-BF1D-C91EC6D5C55B}" srcOrd="1" destOrd="0" presId="urn:microsoft.com/office/officeart/2005/8/layout/process1"/>
    <dgm:cxn modelId="{822B158D-B318-45F6-8AD0-6A3A67E33533}" type="presOf" srcId="{E8002D6A-0C88-4ACB-8347-7791A957725E}" destId="{0A7C1DAC-E1A3-451B-8353-83779A5614BB}" srcOrd="0" destOrd="0" presId="urn:microsoft.com/office/officeart/2005/8/layout/process1"/>
    <dgm:cxn modelId="{F64945C4-FC07-4602-AB3F-43EDC58CEF2A}" type="presOf" srcId="{8222208C-F9CD-4E23-8BB0-6130A01A71FD}" destId="{CC878317-7A2A-4DF0-B1E1-FECD444AD1FF}" srcOrd="1" destOrd="0" presId="urn:microsoft.com/office/officeart/2005/8/layout/process1"/>
    <dgm:cxn modelId="{A111DFEB-BAC8-4F42-8EF4-EA6411A27226}" srcId="{E8002D6A-0C88-4ACB-8347-7791A957725E}" destId="{4DCC442E-B802-4669-A4D2-7C744261F497}" srcOrd="2" destOrd="0" parTransId="{43F6DCA4-44A6-4605-A61E-D4478F2F5913}" sibTransId="{8222208C-F9CD-4E23-8BB0-6130A01A71FD}"/>
    <dgm:cxn modelId="{21B410F3-2AF4-4889-91E6-9CB6841675DC}" type="presOf" srcId="{94F162BC-C234-44A6-BB21-377A3A804FB0}" destId="{0F0126AF-AAB7-4CB7-AECF-A04D12C56C5E}" srcOrd="0" destOrd="0" presId="urn:microsoft.com/office/officeart/2005/8/layout/process1"/>
    <dgm:cxn modelId="{A13D37FC-0795-4CA7-8660-7DDB68D4FBF4}" srcId="{E8002D6A-0C88-4ACB-8347-7791A957725E}" destId="{EE6A13BB-434D-48CE-9FFA-4EFFF5F4B754}" srcOrd="1" destOrd="0" parTransId="{2F5D37B1-4006-4E6D-A6C0-D10BEF8C7F56}" sibTransId="{0214A204-05B4-4542-B3CD-DC938951D730}"/>
    <dgm:cxn modelId="{56FABB07-9B99-4D1A-BB63-81F9F7DA6E01}" type="presParOf" srcId="{0A7C1DAC-E1A3-451B-8353-83779A5614BB}" destId="{29417C91-6FA9-47F2-99D0-D02991635E78}" srcOrd="0" destOrd="0" presId="urn:microsoft.com/office/officeart/2005/8/layout/process1"/>
    <dgm:cxn modelId="{1F85FA4D-5CF6-4ECB-9F8D-0CDDC3910E64}" type="presParOf" srcId="{0A7C1DAC-E1A3-451B-8353-83779A5614BB}" destId="{0F0126AF-AAB7-4CB7-AECF-A04D12C56C5E}" srcOrd="1" destOrd="0" presId="urn:microsoft.com/office/officeart/2005/8/layout/process1"/>
    <dgm:cxn modelId="{276E738E-5DD9-4F57-ADAB-F3C321B84CD1}" type="presParOf" srcId="{0F0126AF-AAB7-4CB7-AECF-A04D12C56C5E}" destId="{0E7BDC97-DE90-4DF3-BF1D-C91EC6D5C55B}" srcOrd="0" destOrd="0" presId="urn:microsoft.com/office/officeart/2005/8/layout/process1"/>
    <dgm:cxn modelId="{E4E3F542-B118-4DEF-A846-C7DB49E4D7E9}" type="presParOf" srcId="{0A7C1DAC-E1A3-451B-8353-83779A5614BB}" destId="{639CFCE5-FAF0-419E-8E75-8797FA8C8C28}" srcOrd="2" destOrd="0" presId="urn:microsoft.com/office/officeart/2005/8/layout/process1"/>
    <dgm:cxn modelId="{27D1D9A5-E753-47DB-AB59-BA31140C011E}" type="presParOf" srcId="{0A7C1DAC-E1A3-451B-8353-83779A5614BB}" destId="{35B837E2-F2C9-4C99-98AC-A39D588F9264}" srcOrd="3" destOrd="0" presId="urn:microsoft.com/office/officeart/2005/8/layout/process1"/>
    <dgm:cxn modelId="{2EDE4BB9-03D9-44F6-A1F8-EC17F28B283F}" type="presParOf" srcId="{35B837E2-F2C9-4C99-98AC-A39D588F9264}" destId="{E4896CD6-45AF-4923-84A3-423025B93E2F}" srcOrd="0" destOrd="0" presId="urn:microsoft.com/office/officeart/2005/8/layout/process1"/>
    <dgm:cxn modelId="{1F09885F-E44B-4D3E-9FD9-A5D60FFA81CC}" type="presParOf" srcId="{0A7C1DAC-E1A3-451B-8353-83779A5614BB}" destId="{4E02BE46-C631-478C-8172-4FF67ACF4F5C}" srcOrd="4" destOrd="0" presId="urn:microsoft.com/office/officeart/2005/8/layout/process1"/>
    <dgm:cxn modelId="{2B2D026E-7CF9-4153-9327-550CF193AC2E}" type="presParOf" srcId="{0A7C1DAC-E1A3-451B-8353-83779A5614BB}" destId="{A6F29520-B477-4C31-BCFF-39D9AFF60BB4}" srcOrd="5" destOrd="0" presId="urn:microsoft.com/office/officeart/2005/8/layout/process1"/>
    <dgm:cxn modelId="{75799FB8-27AF-4A17-94DF-E2444049B21E}" type="presParOf" srcId="{A6F29520-B477-4C31-BCFF-39D9AFF60BB4}" destId="{CC878317-7A2A-4DF0-B1E1-FECD444AD1FF}" srcOrd="0" destOrd="0" presId="urn:microsoft.com/office/officeart/2005/8/layout/process1"/>
    <dgm:cxn modelId="{2D14C87B-6B5E-4B33-BA18-8D9E7ED8AB8D}" type="presParOf" srcId="{0A7C1DAC-E1A3-451B-8353-83779A5614BB}" destId="{91724BA9-D402-4EB5-9B21-7FF3BB0CC679}"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8002D6A-0C88-4ACB-8347-7791A957725E}" type="doc">
      <dgm:prSet loTypeId="urn:microsoft.com/office/officeart/2005/8/layout/process1" loCatId="process" qsTypeId="urn:microsoft.com/office/officeart/2005/8/quickstyle/simple1" qsCatId="simple" csTypeId="urn:microsoft.com/office/officeart/2005/8/colors/accent0_2" csCatId="mainScheme" phldr="1"/>
      <dgm:spPr/>
    </dgm:pt>
    <dgm:pt modelId="{08E664FB-C5CB-44FA-B432-E45E5913DFD1}">
      <dgm:prSet phldrT="[Text]"/>
      <dgm:spPr>
        <a:solidFill>
          <a:schemeClr val="accent6">
            <a:lumMod val="60000"/>
            <a:lumOff val="40000"/>
          </a:schemeClr>
        </a:solidFill>
      </dgm:spPr>
      <dgm:t>
        <a:bodyPr/>
        <a:lstStyle/>
        <a:p>
          <a:r>
            <a:rPr lang="en-GB"/>
            <a:t>Volunteers submit their Nights Away Notifications (NAN), including risk assessment, through the system</a:t>
          </a:r>
        </a:p>
      </dgm:t>
    </dgm:pt>
    <dgm:pt modelId="{ECAFCE0C-BDEC-49AF-B365-63BE7BEAE05F}" type="parTrans" cxnId="{D6D3F545-6AAC-495F-AE73-F826A4E3E459}">
      <dgm:prSet/>
      <dgm:spPr/>
      <dgm:t>
        <a:bodyPr/>
        <a:lstStyle/>
        <a:p>
          <a:endParaRPr lang="en-GB"/>
        </a:p>
      </dgm:t>
    </dgm:pt>
    <dgm:pt modelId="{94F162BC-C234-44A6-BB21-377A3A804FB0}" type="sibTrans" cxnId="{D6D3F545-6AAC-495F-AE73-F826A4E3E459}">
      <dgm:prSet/>
      <dgm:spPr/>
      <dgm:t>
        <a:bodyPr/>
        <a:lstStyle/>
        <a:p>
          <a:endParaRPr lang="en-GB"/>
        </a:p>
      </dgm:t>
    </dgm:pt>
    <dgm:pt modelId="{EE6A13BB-434D-48CE-9FFA-4EFFF5F4B754}">
      <dgm:prSet phldrT="[Text]"/>
      <dgm:spPr>
        <a:solidFill>
          <a:schemeClr val="accent6">
            <a:lumMod val="60000"/>
            <a:lumOff val="40000"/>
          </a:schemeClr>
        </a:solidFill>
      </dgm:spPr>
      <dgm:t>
        <a:bodyPr/>
        <a:lstStyle/>
        <a:p>
          <a:r>
            <a:rPr lang="en-GB"/>
            <a:t>System adds permit details, learning compliance and criminal records check status of all attending adult members</a:t>
          </a:r>
        </a:p>
      </dgm:t>
    </dgm:pt>
    <dgm:pt modelId="{2F5D37B1-4006-4E6D-A6C0-D10BEF8C7F56}" type="parTrans" cxnId="{A13D37FC-0795-4CA7-8660-7DDB68D4FBF4}">
      <dgm:prSet/>
      <dgm:spPr/>
      <dgm:t>
        <a:bodyPr/>
        <a:lstStyle/>
        <a:p>
          <a:endParaRPr lang="en-GB"/>
        </a:p>
      </dgm:t>
    </dgm:pt>
    <dgm:pt modelId="{0214A204-05B4-4542-B3CD-DC938951D730}" type="sibTrans" cxnId="{A13D37FC-0795-4CA7-8660-7DDB68D4FBF4}">
      <dgm:prSet/>
      <dgm:spPr/>
      <dgm:t>
        <a:bodyPr/>
        <a:lstStyle/>
        <a:p>
          <a:endParaRPr lang="en-GB"/>
        </a:p>
      </dgm:t>
    </dgm:pt>
    <dgm:pt modelId="{4DCC442E-B802-4669-A4D2-7C744261F497}">
      <dgm:prSet phldrT="[Text]"/>
      <dgm:spPr>
        <a:solidFill>
          <a:schemeClr val="accent6">
            <a:lumMod val="60000"/>
            <a:lumOff val="40000"/>
          </a:schemeClr>
        </a:solidFill>
      </dgm:spPr>
      <dgm:t>
        <a:bodyPr/>
        <a:lstStyle/>
        <a:p>
          <a:r>
            <a:rPr lang="en-GB"/>
            <a:t>On the system, Lead Volunteer or accredited Nights Away Approver reviews the NAN form and attached supporting documents</a:t>
          </a:r>
        </a:p>
      </dgm:t>
    </dgm:pt>
    <dgm:pt modelId="{43F6DCA4-44A6-4605-A61E-D4478F2F5913}" type="parTrans" cxnId="{A111DFEB-BAC8-4F42-8EF4-EA6411A27226}">
      <dgm:prSet/>
      <dgm:spPr/>
      <dgm:t>
        <a:bodyPr/>
        <a:lstStyle/>
        <a:p>
          <a:endParaRPr lang="en-GB"/>
        </a:p>
      </dgm:t>
    </dgm:pt>
    <dgm:pt modelId="{8222208C-F9CD-4E23-8BB0-6130A01A71FD}" type="sibTrans" cxnId="{A111DFEB-BAC8-4F42-8EF4-EA6411A27226}">
      <dgm:prSet/>
      <dgm:spPr/>
      <dgm:t>
        <a:bodyPr/>
        <a:lstStyle/>
        <a:p>
          <a:endParaRPr lang="en-GB"/>
        </a:p>
      </dgm:t>
    </dgm:pt>
    <dgm:pt modelId="{ACAA8BB1-AB41-4124-AD07-BA868CF8C6E0}">
      <dgm:prSet phldrT="[Text]"/>
      <dgm:spPr>
        <a:solidFill>
          <a:schemeClr val="accent6">
            <a:lumMod val="60000"/>
            <a:lumOff val="40000"/>
          </a:schemeClr>
        </a:solidFill>
      </dgm:spPr>
      <dgm:t>
        <a:bodyPr/>
        <a:lstStyle/>
        <a:p>
          <a:r>
            <a:rPr lang="en-GB"/>
            <a:t>On the system Lead Volunteer or Nights Away Approver approves or rejects the NAN</a:t>
          </a:r>
        </a:p>
      </dgm:t>
    </dgm:pt>
    <dgm:pt modelId="{70F2778A-65C7-41BC-A7F1-4A89AD6AB862}" type="parTrans" cxnId="{E2E6FE2C-3AB5-42C4-9838-E9C2F16650DB}">
      <dgm:prSet/>
      <dgm:spPr/>
      <dgm:t>
        <a:bodyPr/>
        <a:lstStyle/>
        <a:p>
          <a:endParaRPr lang="en-GB"/>
        </a:p>
      </dgm:t>
    </dgm:pt>
    <dgm:pt modelId="{91C0AB84-FC5F-414D-9428-4508F1396B90}" type="sibTrans" cxnId="{E2E6FE2C-3AB5-42C4-9838-E9C2F16650DB}">
      <dgm:prSet/>
      <dgm:spPr/>
      <dgm:t>
        <a:bodyPr/>
        <a:lstStyle/>
        <a:p>
          <a:endParaRPr lang="en-GB"/>
        </a:p>
      </dgm:t>
    </dgm:pt>
    <dgm:pt modelId="{0A7C1DAC-E1A3-451B-8353-83779A5614BB}" type="pres">
      <dgm:prSet presAssocID="{E8002D6A-0C88-4ACB-8347-7791A957725E}" presName="Name0" presStyleCnt="0">
        <dgm:presLayoutVars>
          <dgm:dir/>
          <dgm:resizeHandles val="exact"/>
        </dgm:presLayoutVars>
      </dgm:prSet>
      <dgm:spPr/>
    </dgm:pt>
    <dgm:pt modelId="{29417C91-6FA9-47F2-99D0-D02991635E78}" type="pres">
      <dgm:prSet presAssocID="{08E664FB-C5CB-44FA-B432-E45E5913DFD1}" presName="node" presStyleLbl="node1" presStyleIdx="0" presStyleCnt="4" custLinFactNeighborX="-1462" custLinFactNeighborY="-16584">
        <dgm:presLayoutVars>
          <dgm:bulletEnabled val="1"/>
        </dgm:presLayoutVars>
      </dgm:prSet>
      <dgm:spPr/>
    </dgm:pt>
    <dgm:pt modelId="{0F0126AF-AAB7-4CB7-AECF-A04D12C56C5E}" type="pres">
      <dgm:prSet presAssocID="{94F162BC-C234-44A6-BB21-377A3A804FB0}" presName="sibTrans" presStyleLbl="sibTrans2D1" presStyleIdx="0" presStyleCnt="3"/>
      <dgm:spPr/>
    </dgm:pt>
    <dgm:pt modelId="{0E7BDC97-DE90-4DF3-BF1D-C91EC6D5C55B}" type="pres">
      <dgm:prSet presAssocID="{94F162BC-C234-44A6-BB21-377A3A804FB0}" presName="connectorText" presStyleLbl="sibTrans2D1" presStyleIdx="0" presStyleCnt="3"/>
      <dgm:spPr/>
    </dgm:pt>
    <dgm:pt modelId="{639CFCE5-FAF0-419E-8E75-8797FA8C8C28}" type="pres">
      <dgm:prSet presAssocID="{EE6A13BB-434D-48CE-9FFA-4EFFF5F4B754}" presName="node" presStyleLbl="node1" presStyleIdx="1" presStyleCnt="4" custLinFactNeighborX="-1462" custLinFactNeighborY="-16584">
        <dgm:presLayoutVars>
          <dgm:bulletEnabled val="1"/>
        </dgm:presLayoutVars>
      </dgm:prSet>
      <dgm:spPr/>
    </dgm:pt>
    <dgm:pt modelId="{35B837E2-F2C9-4C99-98AC-A39D588F9264}" type="pres">
      <dgm:prSet presAssocID="{0214A204-05B4-4542-B3CD-DC938951D730}" presName="sibTrans" presStyleLbl="sibTrans2D1" presStyleIdx="1" presStyleCnt="3"/>
      <dgm:spPr/>
    </dgm:pt>
    <dgm:pt modelId="{E4896CD6-45AF-4923-84A3-423025B93E2F}" type="pres">
      <dgm:prSet presAssocID="{0214A204-05B4-4542-B3CD-DC938951D730}" presName="connectorText" presStyleLbl="sibTrans2D1" presStyleIdx="1" presStyleCnt="3"/>
      <dgm:spPr/>
    </dgm:pt>
    <dgm:pt modelId="{4E02BE46-C631-478C-8172-4FF67ACF4F5C}" type="pres">
      <dgm:prSet presAssocID="{4DCC442E-B802-4669-A4D2-7C744261F497}" presName="node" presStyleLbl="node1" presStyleIdx="2" presStyleCnt="4" custLinFactNeighborX="-1462" custLinFactNeighborY="-16584">
        <dgm:presLayoutVars>
          <dgm:bulletEnabled val="1"/>
        </dgm:presLayoutVars>
      </dgm:prSet>
      <dgm:spPr/>
    </dgm:pt>
    <dgm:pt modelId="{A6F29520-B477-4C31-BCFF-39D9AFF60BB4}" type="pres">
      <dgm:prSet presAssocID="{8222208C-F9CD-4E23-8BB0-6130A01A71FD}" presName="sibTrans" presStyleLbl="sibTrans2D1" presStyleIdx="2" presStyleCnt="3"/>
      <dgm:spPr/>
    </dgm:pt>
    <dgm:pt modelId="{CC878317-7A2A-4DF0-B1E1-FECD444AD1FF}" type="pres">
      <dgm:prSet presAssocID="{8222208C-F9CD-4E23-8BB0-6130A01A71FD}" presName="connectorText" presStyleLbl="sibTrans2D1" presStyleIdx="2" presStyleCnt="3"/>
      <dgm:spPr/>
    </dgm:pt>
    <dgm:pt modelId="{91724BA9-D402-4EB5-9B21-7FF3BB0CC679}" type="pres">
      <dgm:prSet presAssocID="{ACAA8BB1-AB41-4124-AD07-BA868CF8C6E0}" presName="node" presStyleLbl="node1" presStyleIdx="3" presStyleCnt="4" custLinFactNeighborX="-1462" custLinFactNeighborY="-16584">
        <dgm:presLayoutVars>
          <dgm:bulletEnabled val="1"/>
        </dgm:presLayoutVars>
      </dgm:prSet>
      <dgm:spPr/>
    </dgm:pt>
  </dgm:ptLst>
  <dgm:cxnLst>
    <dgm:cxn modelId="{82350308-D9C8-40AA-AD35-088FFFAFF1AD}" type="presOf" srcId="{08E664FB-C5CB-44FA-B432-E45E5913DFD1}" destId="{29417C91-6FA9-47F2-99D0-D02991635E78}" srcOrd="0" destOrd="0" presId="urn:microsoft.com/office/officeart/2005/8/layout/process1"/>
    <dgm:cxn modelId="{08004D0C-C637-4F6D-8B64-4134B3873791}" type="presOf" srcId="{4DCC442E-B802-4669-A4D2-7C744261F497}" destId="{4E02BE46-C631-478C-8172-4FF67ACF4F5C}" srcOrd="0" destOrd="0" presId="urn:microsoft.com/office/officeart/2005/8/layout/process1"/>
    <dgm:cxn modelId="{3034540D-3B08-45C5-8362-BA43D04E6EA7}" type="presOf" srcId="{8222208C-F9CD-4E23-8BB0-6130A01A71FD}" destId="{A6F29520-B477-4C31-BCFF-39D9AFF60BB4}" srcOrd="0" destOrd="0" presId="urn:microsoft.com/office/officeart/2005/8/layout/process1"/>
    <dgm:cxn modelId="{5F284C10-4341-4D38-90ED-F5DFC82D86B9}" type="presOf" srcId="{ACAA8BB1-AB41-4124-AD07-BA868CF8C6E0}" destId="{91724BA9-D402-4EB5-9B21-7FF3BB0CC679}" srcOrd="0" destOrd="0" presId="urn:microsoft.com/office/officeart/2005/8/layout/process1"/>
    <dgm:cxn modelId="{19BFDD2C-3F42-495C-97C8-6E357B39C263}" type="presOf" srcId="{0214A204-05B4-4542-B3CD-DC938951D730}" destId="{E4896CD6-45AF-4923-84A3-423025B93E2F}" srcOrd="1" destOrd="0" presId="urn:microsoft.com/office/officeart/2005/8/layout/process1"/>
    <dgm:cxn modelId="{E2E6FE2C-3AB5-42C4-9838-E9C2F16650DB}" srcId="{E8002D6A-0C88-4ACB-8347-7791A957725E}" destId="{ACAA8BB1-AB41-4124-AD07-BA868CF8C6E0}" srcOrd="3" destOrd="0" parTransId="{70F2778A-65C7-41BC-A7F1-4A89AD6AB862}" sibTransId="{91C0AB84-FC5F-414D-9428-4508F1396B90}"/>
    <dgm:cxn modelId="{40CE7137-96A5-4D14-9E06-00E96AE457D3}" type="presOf" srcId="{0214A204-05B4-4542-B3CD-DC938951D730}" destId="{35B837E2-F2C9-4C99-98AC-A39D588F9264}" srcOrd="0" destOrd="0" presId="urn:microsoft.com/office/officeart/2005/8/layout/process1"/>
    <dgm:cxn modelId="{D6D3F545-6AAC-495F-AE73-F826A4E3E459}" srcId="{E8002D6A-0C88-4ACB-8347-7791A957725E}" destId="{08E664FB-C5CB-44FA-B432-E45E5913DFD1}" srcOrd="0" destOrd="0" parTransId="{ECAFCE0C-BDEC-49AF-B365-63BE7BEAE05F}" sibTransId="{94F162BC-C234-44A6-BB21-377A3A804FB0}"/>
    <dgm:cxn modelId="{AD8C064A-3FFB-4C42-824B-8CA1576D0330}" type="presOf" srcId="{EE6A13BB-434D-48CE-9FFA-4EFFF5F4B754}" destId="{639CFCE5-FAF0-419E-8E75-8797FA8C8C28}" srcOrd="0" destOrd="0" presId="urn:microsoft.com/office/officeart/2005/8/layout/process1"/>
    <dgm:cxn modelId="{1B5E7D8C-9FC6-4714-BDCA-DF3FF8C70E43}" type="presOf" srcId="{94F162BC-C234-44A6-BB21-377A3A804FB0}" destId="{0E7BDC97-DE90-4DF3-BF1D-C91EC6D5C55B}" srcOrd="1" destOrd="0" presId="urn:microsoft.com/office/officeart/2005/8/layout/process1"/>
    <dgm:cxn modelId="{822B158D-B318-45F6-8AD0-6A3A67E33533}" type="presOf" srcId="{E8002D6A-0C88-4ACB-8347-7791A957725E}" destId="{0A7C1DAC-E1A3-451B-8353-83779A5614BB}" srcOrd="0" destOrd="0" presId="urn:microsoft.com/office/officeart/2005/8/layout/process1"/>
    <dgm:cxn modelId="{F64945C4-FC07-4602-AB3F-43EDC58CEF2A}" type="presOf" srcId="{8222208C-F9CD-4E23-8BB0-6130A01A71FD}" destId="{CC878317-7A2A-4DF0-B1E1-FECD444AD1FF}" srcOrd="1" destOrd="0" presId="urn:microsoft.com/office/officeart/2005/8/layout/process1"/>
    <dgm:cxn modelId="{A111DFEB-BAC8-4F42-8EF4-EA6411A27226}" srcId="{E8002D6A-0C88-4ACB-8347-7791A957725E}" destId="{4DCC442E-B802-4669-A4D2-7C744261F497}" srcOrd="2" destOrd="0" parTransId="{43F6DCA4-44A6-4605-A61E-D4478F2F5913}" sibTransId="{8222208C-F9CD-4E23-8BB0-6130A01A71FD}"/>
    <dgm:cxn modelId="{21B410F3-2AF4-4889-91E6-9CB6841675DC}" type="presOf" srcId="{94F162BC-C234-44A6-BB21-377A3A804FB0}" destId="{0F0126AF-AAB7-4CB7-AECF-A04D12C56C5E}" srcOrd="0" destOrd="0" presId="urn:microsoft.com/office/officeart/2005/8/layout/process1"/>
    <dgm:cxn modelId="{A13D37FC-0795-4CA7-8660-7DDB68D4FBF4}" srcId="{E8002D6A-0C88-4ACB-8347-7791A957725E}" destId="{EE6A13BB-434D-48CE-9FFA-4EFFF5F4B754}" srcOrd="1" destOrd="0" parTransId="{2F5D37B1-4006-4E6D-A6C0-D10BEF8C7F56}" sibTransId="{0214A204-05B4-4542-B3CD-DC938951D730}"/>
    <dgm:cxn modelId="{56FABB07-9B99-4D1A-BB63-81F9F7DA6E01}" type="presParOf" srcId="{0A7C1DAC-E1A3-451B-8353-83779A5614BB}" destId="{29417C91-6FA9-47F2-99D0-D02991635E78}" srcOrd="0" destOrd="0" presId="urn:microsoft.com/office/officeart/2005/8/layout/process1"/>
    <dgm:cxn modelId="{1F85FA4D-5CF6-4ECB-9F8D-0CDDC3910E64}" type="presParOf" srcId="{0A7C1DAC-E1A3-451B-8353-83779A5614BB}" destId="{0F0126AF-AAB7-4CB7-AECF-A04D12C56C5E}" srcOrd="1" destOrd="0" presId="urn:microsoft.com/office/officeart/2005/8/layout/process1"/>
    <dgm:cxn modelId="{276E738E-5DD9-4F57-ADAB-F3C321B84CD1}" type="presParOf" srcId="{0F0126AF-AAB7-4CB7-AECF-A04D12C56C5E}" destId="{0E7BDC97-DE90-4DF3-BF1D-C91EC6D5C55B}" srcOrd="0" destOrd="0" presId="urn:microsoft.com/office/officeart/2005/8/layout/process1"/>
    <dgm:cxn modelId="{E4E3F542-B118-4DEF-A846-C7DB49E4D7E9}" type="presParOf" srcId="{0A7C1DAC-E1A3-451B-8353-83779A5614BB}" destId="{639CFCE5-FAF0-419E-8E75-8797FA8C8C28}" srcOrd="2" destOrd="0" presId="urn:microsoft.com/office/officeart/2005/8/layout/process1"/>
    <dgm:cxn modelId="{27D1D9A5-E753-47DB-AB59-BA31140C011E}" type="presParOf" srcId="{0A7C1DAC-E1A3-451B-8353-83779A5614BB}" destId="{35B837E2-F2C9-4C99-98AC-A39D588F9264}" srcOrd="3" destOrd="0" presId="urn:microsoft.com/office/officeart/2005/8/layout/process1"/>
    <dgm:cxn modelId="{2EDE4BB9-03D9-44F6-A1F8-EC17F28B283F}" type="presParOf" srcId="{35B837E2-F2C9-4C99-98AC-A39D588F9264}" destId="{E4896CD6-45AF-4923-84A3-423025B93E2F}" srcOrd="0" destOrd="0" presId="urn:microsoft.com/office/officeart/2005/8/layout/process1"/>
    <dgm:cxn modelId="{1F09885F-E44B-4D3E-9FD9-A5D60FFA81CC}" type="presParOf" srcId="{0A7C1DAC-E1A3-451B-8353-83779A5614BB}" destId="{4E02BE46-C631-478C-8172-4FF67ACF4F5C}" srcOrd="4" destOrd="0" presId="urn:microsoft.com/office/officeart/2005/8/layout/process1"/>
    <dgm:cxn modelId="{2B2D026E-7CF9-4153-9327-550CF193AC2E}" type="presParOf" srcId="{0A7C1DAC-E1A3-451B-8353-83779A5614BB}" destId="{A6F29520-B477-4C31-BCFF-39D9AFF60BB4}" srcOrd="5" destOrd="0" presId="urn:microsoft.com/office/officeart/2005/8/layout/process1"/>
    <dgm:cxn modelId="{75799FB8-27AF-4A17-94DF-E2444049B21E}" type="presParOf" srcId="{A6F29520-B477-4C31-BCFF-39D9AFF60BB4}" destId="{CC878317-7A2A-4DF0-B1E1-FECD444AD1FF}" srcOrd="0" destOrd="0" presId="urn:microsoft.com/office/officeart/2005/8/layout/process1"/>
    <dgm:cxn modelId="{2D14C87B-6B5E-4B33-BA18-8D9E7ED8AB8D}" type="presParOf" srcId="{0A7C1DAC-E1A3-451B-8353-83779A5614BB}" destId="{91724BA9-D402-4EB5-9B21-7FF3BB0CC679}"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E7B0328-1CAE-49BA-A324-802137962204}" type="doc">
      <dgm:prSet loTypeId="urn:microsoft.com/office/officeart/2005/8/layout/vList5" loCatId="list" qsTypeId="urn:microsoft.com/office/officeart/2005/8/quickstyle/simple1" qsCatId="simple" csTypeId="urn:microsoft.com/office/officeart/2005/8/colors/colorful2" csCatId="colorful" phldr="1"/>
      <dgm:spPr/>
      <dgm:t>
        <a:bodyPr/>
        <a:lstStyle/>
        <a:p>
          <a:endParaRPr lang="en-GB"/>
        </a:p>
      </dgm:t>
    </dgm:pt>
    <dgm:pt modelId="{827372C2-26BE-4F9B-9621-2D5B9420F541}">
      <dgm:prSet phldrT="[Text]"/>
      <dgm:spPr/>
      <dgm:t>
        <a:bodyPr/>
        <a:lstStyle/>
        <a:p>
          <a:r>
            <a:rPr lang="en-GB"/>
            <a:t>Local Support</a:t>
          </a:r>
        </a:p>
      </dgm:t>
    </dgm:pt>
    <dgm:pt modelId="{0362FABD-9B19-4C2B-845C-63D37B72EF7E}" type="parTrans" cxnId="{33515528-C441-464D-8235-89ADF93CB5ED}">
      <dgm:prSet/>
      <dgm:spPr/>
      <dgm:t>
        <a:bodyPr/>
        <a:lstStyle/>
        <a:p>
          <a:endParaRPr lang="en-GB"/>
        </a:p>
      </dgm:t>
    </dgm:pt>
    <dgm:pt modelId="{6365FAB0-9D38-4C75-9760-A1799E427667}" type="sibTrans" cxnId="{33515528-C441-464D-8235-89ADF93CB5ED}">
      <dgm:prSet/>
      <dgm:spPr/>
      <dgm:t>
        <a:bodyPr/>
        <a:lstStyle/>
        <a:p>
          <a:endParaRPr lang="en-GB"/>
        </a:p>
      </dgm:t>
    </dgm:pt>
    <dgm:pt modelId="{6D2552BF-F797-48B1-A882-37F5E3FDCD23}">
      <dgm:prSet phldrT="[Text]"/>
      <dgm:spPr/>
      <dgm:t>
        <a:bodyPr/>
        <a:lstStyle/>
        <a:p>
          <a:pPr>
            <a:buNone/>
          </a:pPr>
          <a:r>
            <a:rPr lang="en-GB" b="1"/>
            <a:t>Self-Service</a:t>
          </a:r>
        </a:p>
      </dgm:t>
    </dgm:pt>
    <dgm:pt modelId="{9EF9DC72-3760-49D0-831F-B724A50D918D}" type="parTrans" cxnId="{537F7854-1990-48C7-AE0E-3A96092925DC}">
      <dgm:prSet/>
      <dgm:spPr/>
      <dgm:t>
        <a:bodyPr/>
        <a:lstStyle/>
        <a:p>
          <a:endParaRPr lang="en-GB"/>
        </a:p>
      </dgm:t>
    </dgm:pt>
    <dgm:pt modelId="{3604F7BD-F438-45DE-B49E-916414C94512}" type="sibTrans" cxnId="{537F7854-1990-48C7-AE0E-3A96092925DC}">
      <dgm:prSet/>
      <dgm:spPr/>
      <dgm:t>
        <a:bodyPr/>
        <a:lstStyle/>
        <a:p>
          <a:endParaRPr lang="en-GB"/>
        </a:p>
      </dgm:t>
    </dgm:pt>
    <dgm:pt modelId="{B764DF27-01E7-457A-AB7F-89FF1B7F4B5B}">
      <dgm:prSet phldrT="[Text]"/>
      <dgm:spPr/>
      <dgm:t>
        <a:bodyPr/>
        <a:lstStyle/>
        <a:p>
          <a:r>
            <a:rPr lang="en-GB"/>
            <a:t>Support Centre</a:t>
          </a:r>
        </a:p>
      </dgm:t>
    </dgm:pt>
    <dgm:pt modelId="{C953287D-7E78-436C-AA34-DE761E692147}" type="parTrans" cxnId="{A400F281-7BE9-4DEE-85C8-58BBDEBC52D6}">
      <dgm:prSet/>
      <dgm:spPr/>
      <dgm:t>
        <a:bodyPr/>
        <a:lstStyle/>
        <a:p>
          <a:endParaRPr lang="en-GB"/>
        </a:p>
      </dgm:t>
    </dgm:pt>
    <dgm:pt modelId="{EE77121D-DBC2-4633-9A02-662C5FB646C9}" type="sibTrans" cxnId="{A400F281-7BE9-4DEE-85C8-58BBDEBC52D6}">
      <dgm:prSet/>
      <dgm:spPr/>
      <dgm:t>
        <a:bodyPr/>
        <a:lstStyle/>
        <a:p>
          <a:endParaRPr lang="en-GB"/>
        </a:p>
      </dgm:t>
    </dgm:pt>
    <dgm:pt modelId="{B16D68D1-F154-453F-9C65-61FE38F0A6AE}">
      <dgm:prSet phldrT="[Text]"/>
      <dgm:spPr/>
      <dgm:t>
        <a:bodyPr/>
        <a:lstStyle/>
        <a:p>
          <a:r>
            <a:rPr lang="en-GB"/>
            <a:t>Technical Support</a:t>
          </a:r>
        </a:p>
      </dgm:t>
    </dgm:pt>
    <dgm:pt modelId="{BCA3A156-243D-45FB-83C8-4D40A5211B98}" type="parTrans" cxnId="{95B63986-79A3-4A33-A507-7438D873AAA4}">
      <dgm:prSet/>
      <dgm:spPr/>
      <dgm:t>
        <a:bodyPr/>
        <a:lstStyle/>
        <a:p>
          <a:endParaRPr lang="en-GB"/>
        </a:p>
      </dgm:t>
    </dgm:pt>
    <dgm:pt modelId="{959E2D90-4CAB-4D59-9240-BC0556CFF1C2}" type="sibTrans" cxnId="{95B63986-79A3-4A33-A507-7438D873AAA4}">
      <dgm:prSet/>
      <dgm:spPr/>
      <dgm:t>
        <a:bodyPr/>
        <a:lstStyle/>
        <a:p>
          <a:endParaRPr lang="en-GB"/>
        </a:p>
      </dgm:t>
    </dgm:pt>
    <dgm:pt modelId="{C3FA3855-6EC7-4F2B-AC26-7C3FA4733478}">
      <dgm:prSet phldrT="[Text]"/>
      <dgm:spPr/>
      <dgm:t>
        <a:bodyPr/>
        <a:lstStyle/>
        <a:p>
          <a:r>
            <a:rPr lang="en-GB"/>
            <a:t>Internal technology team and our 3</a:t>
          </a:r>
          <a:r>
            <a:rPr lang="en-GB" baseline="30000"/>
            <a:t>rd</a:t>
          </a:r>
          <a:r>
            <a:rPr lang="en-GB"/>
            <a:t> party system providers</a:t>
          </a:r>
        </a:p>
      </dgm:t>
    </dgm:pt>
    <dgm:pt modelId="{32649A34-4D62-4B5C-975F-BC06A1BC7C67}" type="parTrans" cxnId="{7BB31A0E-52AB-479A-8230-9F78244ED828}">
      <dgm:prSet/>
      <dgm:spPr/>
      <dgm:t>
        <a:bodyPr/>
        <a:lstStyle/>
        <a:p>
          <a:endParaRPr lang="en-GB"/>
        </a:p>
      </dgm:t>
    </dgm:pt>
    <dgm:pt modelId="{30E22F1F-A68E-4D45-BD9C-0544611C9CDF}" type="sibTrans" cxnId="{7BB31A0E-52AB-479A-8230-9F78244ED828}">
      <dgm:prSet/>
      <dgm:spPr/>
      <dgm:t>
        <a:bodyPr/>
        <a:lstStyle/>
        <a:p>
          <a:endParaRPr lang="en-GB"/>
        </a:p>
      </dgm:t>
    </dgm:pt>
    <dgm:pt modelId="{2796FAF0-64FB-4443-BD3E-07CB87E955A4}">
      <dgm:prSet phldrT="[Text]"/>
      <dgm:spPr/>
      <dgm:t>
        <a:bodyPr/>
        <a:lstStyle/>
        <a:p>
          <a:r>
            <a:rPr lang="en-GB"/>
            <a:t>Resolve bugs and technical problems with system functionality</a:t>
          </a:r>
        </a:p>
      </dgm:t>
    </dgm:pt>
    <dgm:pt modelId="{4F28FF1B-0DE1-4C43-9F55-7CB40FEC01C4}" type="parTrans" cxnId="{2B09B49E-CC1C-478C-81A5-C9B524034CC4}">
      <dgm:prSet/>
      <dgm:spPr/>
      <dgm:t>
        <a:bodyPr/>
        <a:lstStyle/>
        <a:p>
          <a:endParaRPr lang="en-GB"/>
        </a:p>
      </dgm:t>
    </dgm:pt>
    <dgm:pt modelId="{5FA2BDA6-3356-4A9E-9664-1767E31D8D28}" type="sibTrans" cxnId="{2B09B49E-CC1C-478C-81A5-C9B524034CC4}">
      <dgm:prSet/>
      <dgm:spPr/>
      <dgm:t>
        <a:bodyPr/>
        <a:lstStyle/>
        <a:p>
          <a:endParaRPr lang="en-GB"/>
        </a:p>
      </dgm:t>
    </dgm:pt>
    <dgm:pt modelId="{135BC02D-A6DE-4750-A8E7-C4C328DAF7A1}">
      <dgm:prSet phldrT="[Text]"/>
      <dgm:spPr/>
      <dgm:t>
        <a:bodyPr/>
        <a:lstStyle/>
        <a:p>
          <a:r>
            <a:rPr lang="en-GB"/>
            <a:t>Webpages, User Guides, FAQs on website, local colleagues</a:t>
          </a:r>
        </a:p>
      </dgm:t>
    </dgm:pt>
    <dgm:pt modelId="{B86F307A-AAA6-41B0-BA9C-B9A0C8C20F90}" type="parTrans" cxnId="{F47076D2-6B74-4148-91C8-969189F602AC}">
      <dgm:prSet/>
      <dgm:spPr/>
      <dgm:t>
        <a:bodyPr/>
        <a:lstStyle/>
        <a:p>
          <a:endParaRPr lang="en-GB"/>
        </a:p>
      </dgm:t>
    </dgm:pt>
    <dgm:pt modelId="{BC033B82-45C5-477A-B19F-A00B66CF1C3D}" type="sibTrans" cxnId="{F47076D2-6B74-4148-91C8-969189F602AC}">
      <dgm:prSet/>
      <dgm:spPr/>
      <dgm:t>
        <a:bodyPr/>
        <a:lstStyle/>
        <a:p>
          <a:endParaRPr lang="en-GB"/>
        </a:p>
      </dgm:t>
    </dgm:pt>
    <dgm:pt modelId="{70AC7E80-DC8F-40A2-B0D3-BBFEE3DDE602}">
      <dgm:prSet phldrT="[Text]"/>
      <dgm:spPr/>
      <dgm:t>
        <a:bodyPr/>
        <a:lstStyle/>
        <a:p>
          <a:r>
            <a:rPr lang="en-GB"/>
            <a:t>Support for changes to scouting processes, basic troubleshooting, admin support etc.</a:t>
          </a:r>
        </a:p>
      </dgm:t>
    </dgm:pt>
    <dgm:pt modelId="{0DF88052-E259-411B-8F07-3A7300F8D56E}" type="parTrans" cxnId="{BFEE8C50-6C95-4673-8F93-D5ED0AE877F7}">
      <dgm:prSet/>
      <dgm:spPr/>
      <dgm:t>
        <a:bodyPr/>
        <a:lstStyle/>
        <a:p>
          <a:endParaRPr lang="en-GB"/>
        </a:p>
      </dgm:t>
    </dgm:pt>
    <dgm:pt modelId="{AC21483D-AD6F-4FAF-B313-AE368D98239D}" type="sibTrans" cxnId="{BFEE8C50-6C95-4673-8F93-D5ED0AE877F7}">
      <dgm:prSet/>
      <dgm:spPr/>
      <dgm:t>
        <a:bodyPr/>
        <a:lstStyle/>
        <a:p>
          <a:endParaRPr lang="en-GB"/>
        </a:p>
      </dgm:t>
    </dgm:pt>
    <dgm:pt modelId="{B69DBE73-4D22-438D-A779-29D783BED4BC}">
      <dgm:prSet phldrT="[Text]"/>
      <dgm:spPr/>
      <dgm:t>
        <a:bodyPr/>
        <a:lstStyle/>
        <a:p>
          <a:pPr>
            <a:buNone/>
          </a:pPr>
          <a:r>
            <a:rPr lang="en-GB" b="1"/>
            <a:t>District/County Support</a:t>
          </a:r>
        </a:p>
      </dgm:t>
    </dgm:pt>
    <dgm:pt modelId="{75B8617D-3915-45FC-8BEA-B5C485361179}" type="sibTrans" cxnId="{1C6E83A5-6BB0-4DF0-AA85-C58F432EA4EF}">
      <dgm:prSet/>
      <dgm:spPr/>
      <dgm:t>
        <a:bodyPr/>
        <a:lstStyle/>
        <a:p>
          <a:endParaRPr lang="en-GB"/>
        </a:p>
      </dgm:t>
    </dgm:pt>
    <dgm:pt modelId="{5CAB6960-30A2-4AD9-8140-1B099C1F1AF9}" type="parTrans" cxnId="{1C6E83A5-6BB0-4DF0-AA85-C58F432EA4EF}">
      <dgm:prSet/>
      <dgm:spPr/>
      <dgm:t>
        <a:bodyPr/>
        <a:lstStyle/>
        <a:p>
          <a:endParaRPr lang="en-GB"/>
        </a:p>
      </dgm:t>
    </dgm:pt>
    <dgm:pt modelId="{42A0F222-CD8E-4327-8081-577D6770328E}">
      <dgm:prSet phldrT="[Text]"/>
      <dgm:spPr/>
      <dgm:t>
        <a:bodyPr/>
        <a:lstStyle/>
        <a:p>
          <a:r>
            <a:rPr lang="en-GB"/>
            <a:t>Technical issues or bugs in digital systems</a:t>
          </a:r>
        </a:p>
      </dgm:t>
    </dgm:pt>
    <dgm:pt modelId="{66C227E6-0F3E-4BEC-8F5E-7FF8BB2D5DBF}" type="parTrans" cxnId="{27028E02-72AB-4C31-AFB1-A6FAA1CEB92A}">
      <dgm:prSet/>
      <dgm:spPr/>
      <dgm:t>
        <a:bodyPr/>
        <a:lstStyle/>
        <a:p>
          <a:endParaRPr lang="en-GB"/>
        </a:p>
      </dgm:t>
    </dgm:pt>
    <dgm:pt modelId="{EE330E50-83D9-47B2-B7A4-095612815FC6}" type="sibTrans" cxnId="{27028E02-72AB-4C31-AFB1-A6FAA1CEB92A}">
      <dgm:prSet/>
      <dgm:spPr/>
      <dgm:t>
        <a:bodyPr/>
        <a:lstStyle/>
        <a:p>
          <a:endParaRPr lang="en-GB"/>
        </a:p>
      </dgm:t>
    </dgm:pt>
    <dgm:pt modelId="{41FF7560-CE88-412A-A86C-8EF44155CE87}">
      <dgm:prSet phldrT="[Text]"/>
      <dgm:spPr/>
      <dgm:t>
        <a:bodyPr/>
        <a:lstStyle/>
        <a:p>
          <a:r>
            <a:rPr lang="en-GB"/>
            <a:t>Queries from volunteers that aren’t answered via local support</a:t>
          </a:r>
        </a:p>
      </dgm:t>
    </dgm:pt>
    <dgm:pt modelId="{9D6D9EE3-72A6-444E-A22D-146F3ECD4102}" type="parTrans" cxnId="{2F9AEBF3-E268-4C57-91EF-064B08B61A9C}">
      <dgm:prSet/>
      <dgm:spPr/>
      <dgm:t>
        <a:bodyPr/>
        <a:lstStyle/>
        <a:p>
          <a:endParaRPr lang="en-GB"/>
        </a:p>
      </dgm:t>
    </dgm:pt>
    <dgm:pt modelId="{D30F1B42-9AB9-4FDA-BA07-6FA6AD66DF0D}" type="sibTrans" cxnId="{2F9AEBF3-E268-4C57-91EF-064B08B61A9C}">
      <dgm:prSet/>
      <dgm:spPr/>
      <dgm:t>
        <a:bodyPr/>
        <a:lstStyle/>
        <a:p>
          <a:endParaRPr lang="en-GB"/>
        </a:p>
      </dgm:t>
    </dgm:pt>
    <dgm:pt modelId="{B4D1E93C-7C12-43FE-A0D8-314CCE9161FF}">
      <dgm:prSet phldrT="[Text]"/>
      <dgm:spPr/>
      <dgm:t>
        <a:bodyPr/>
        <a:lstStyle/>
        <a:p>
          <a:r>
            <a:rPr lang="en-GB"/>
            <a:t>Project/Programme team or Change team</a:t>
          </a:r>
        </a:p>
      </dgm:t>
    </dgm:pt>
    <dgm:pt modelId="{072409FA-CD7E-4A2B-9DE0-D1555F3A938B}" type="parTrans" cxnId="{327A4395-F629-436B-92CD-F6D1503B869E}">
      <dgm:prSet/>
      <dgm:spPr/>
      <dgm:t>
        <a:bodyPr/>
        <a:lstStyle/>
        <a:p>
          <a:endParaRPr lang="en-GB"/>
        </a:p>
      </dgm:t>
    </dgm:pt>
    <dgm:pt modelId="{40FF5810-3A28-4F3C-9FF2-0D6A427C0FD7}" type="sibTrans" cxnId="{327A4395-F629-436B-92CD-F6D1503B869E}">
      <dgm:prSet/>
      <dgm:spPr/>
      <dgm:t>
        <a:bodyPr/>
        <a:lstStyle/>
        <a:p>
          <a:endParaRPr lang="en-GB"/>
        </a:p>
      </dgm:t>
    </dgm:pt>
    <dgm:pt modelId="{8DC3DFF0-28C2-4914-8B90-74011227DC72}">
      <dgm:prSet phldrT="[Text]"/>
      <dgm:spPr/>
      <dgm:t>
        <a:bodyPr/>
        <a:lstStyle/>
        <a:p>
          <a:r>
            <a:rPr lang="en-GB"/>
            <a:t>Escalations from Support Centre</a:t>
          </a:r>
        </a:p>
      </dgm:t>
    </dgm:pt>
    <dgm:pt modelId="{EF5697A6-89B1-4132-A4B6-F3B84F2FEC0B}" type="parTrans" cxnId="{59B548EC-A35C-4D61-801B-C6E63D2E8904}">
      <dgm:prSet/>
      <dgm:spPr/>
      <dgm:t>
        <a:bodyPr/>
        <a:lstStyle/>
        <a:p>
          <a:endParaRPr lang="en-GB"/>
        </a:p>
      </dgm:t>
    </dgm:pt>
    <dgm:pt modelId="{59F7FB7C-B4EE-4BA1-B270-AE6401D1B6F4}" type="sibTrans" cxnId="{59B548EC-A35C-4D61-801B-C6E63D2E8904}">
      <dgm:prSet/>
      <dgm:spPr/>
      <dgm:t>
        <a:bodyPr/>
        <a:lstStyle/>
        <a:p>
          <a:endParaRPr lang="en-GB"/>
        </a:p>
      </dgm:t>
    </dgm:pt>
    <dgm:pt modelId="{62A89C5D-918B-4971-BA0D-77C7A2789A7C}" type="pres">
      <dgm:prSet presAssocID="{4E7B0328-1CAE-49BA-A324-802137962204}" presName="Name0" presStyleCnt="0">
        <dgm:presLayoutVars>
          <dgm:dir/>
          <dgm:animLvl val="lvl"/>
          <dgm:resizeHandles val="exact"/>
        </dgm:presLayoutVars>
      </dgm:prSet>
      <dgm:spPr/>
    </dgm:pt>
    <dgm:pt modelId="{2C383191-547D-48AE-8431-5560AFD20A0E}" type="pres">
      <dgm:prSet presAssocID="{827372C2-26BE-4F9B-9621-2D5B9420F541}" presName="linNode" presStyleCnt="0"/>
      <dgm:spPr/>
    </dgm:pt>
    <dgm:pt modelId="{83DE881F-2764-4144-97C1-E0710EF60861}" type="pres">
      <dgm:prSet presAssocID="{827372C2-26BE-4F9B-9621-2D5B9420F541}" presName="parentText" presStyleLbl="node1" presStyleIdx="0" presStyleCnt="3" custScaleX="50623">
        <dgm:presLayoutVars>
          <dgm:chMax val="1"/>
          <dgm:bulletEnabled val="1"/>
        </dgm:presLayoutVars>
      </dgm:prSet>
      <dgm:spPr/>
    </dgm:pt>
    <dgm:pt modelId="{145611FB-706C-48E3-B717-C986C8B27438}" type="pres">
      <dgm:prSet presAssocID="{827372C2-26BE-4F9B-9621-2D5B9420F541}" presName="descendantText" presStyleLbl="alignAccFollowNode1" presStyleIdx="0" presStyleCnt="3" custScaleX="120856">
        <dgm:presLayoutVars>
          <dgm:bulletEnabled val="1"/>
        </dgm:presLayoutVars>
      </dgm:prSet>
      <dgm:spPr/>
    </dgm:pt>
    <dgm:pt modelId="{6F65074C-A064-433A-9662-12E2BE81C559}" type="pres">
      <dgm:prSet presAssocID="{6365FAB0-9D38-4C75-9760-A1799E427667}" presName="sp" presStyleCnt="0"/>
      <dgm:spPr/>
    </dgm:pt>
    <dgm:pt modelId="{52745466-A623-46F5-B071-9539B9F1BED6}" type="pres">
      <dgm:prSet presAssocID="{B764DF27-01E7-457A-AB7F-89FF1B7F4B5B}" presName="linNode" presStyleCnt="0"/>
      <dgm:spPr/>
    </dgm:pt>
    <dgm:pt modelId="{C81301F5-FC0C-460A-88B8-9D0BCF4526FF}" type="pres">
      <dgm:prSet presAssocID="{B764DF27-01E7-457A-AB7F-89FF1B7F4B5B}" presName="parentText" presStyleLbl="node1" presStyleIdx="1" presStyleCnt="3" custScaleX="50623">
        <dgm:presLayoutVars>
          <dgm:chMax val="1"/>
          <dgm:bulletEnabled val="1"/>
        </dgm:presLayoutVars>
      </dgm:prSet>
      <dgm:spPr/>
    </dgm:pt>
    <dgm:pt modelId="{9820B4A2-0F29-465D-9A8B-179780960506}" type="pres">
      <dgm:prSet presAssocID="{B764DF27-01E7-457A-AB7F-89FF1B7F4B5B}" presName="descendantText" presStyleLbl="alignAccFollowNode1" presStyleIdx="1" presStyleCnt="3" custScaleX="121121">
        <dgm:presLayoutVars>
          <dgm:bulletEnabled val="1"/>
        </dgm:presLayoutVars>
      </dgm:prSet>
      <dgm:spPr/>
    </dgm:pt>
    <dgm:pt modelId="{9A4BB582-9254-4C75-ACA4-C34D6B94E303}" type="pres">
      <dgm:prSet presAssocID="{EE77121D-DBC2-4633-9A02-662C5FB646C9}" presName="sp" presStyleCnt="0"/>
      <dgm:spPr/>
    </dgm:pt>
    <dgm:pt modelId="{543EFC63-2447-4CCF-BC5E-4F0F5B11868F}" type="pres">
      <dgm:prSet presAssocID="{B16D68D1-F154-453F-9C65-61FE38F0A6AE}" presName="linNode" presStyleCnt="0"/>
      <dgm:spPr/>
    </dgm:pt>
    <dgm:pt modelId="{0DECECC7-301E-4423-B8AD-310B4E105243}" type="pres">
      <dgm:prSet presAssocID="{B16D68D1-F154-453F-9C65-61FE38F0A6AE}" presName="parentText" presStyleLbl="node1" presStyleIdx="2" presStyleCnt="3" custScaleX="50623">
        <dgm:presLayoutVars>
          <dgm:chMax val="1"/>
          <dgm:bulletEnabled val="1"/>
        </dgm:presLayoutVars>
      </dgm:prSet>
      <dgm:spPr/>
    </dgm:pt>
    <dgm:pt modelId="{7DA66ED9-28A5-405D-B5BE-E73EA4A4F910}" type="pres">
      <dgm:prSet presAssocID="{B16D68D1-F154-453F-9C65-61FE38F0A6AE}" presName="descendantText" presStyleLbl="alignAccFollowNode1" presStyleIdx="2" presStyleCnt="3" custScaleX="121121">
        <dgm:presLayoutVars>
          <dgm:bulletEnabled val="1"/>
        </dgm:presLayoutVars>
      </dgm:prSet>
      <dgm:spPr/>
    </dgm:pt>
  </dgm:ptLst>
  <dgm:cxnLst>
    <dgm:cxn modelId="{A4A37F01-EC69-46B7-BA5E-1D31A685490A}" type="presOf" srcId="{8DC3DFF0-28C2-4914-8B90-74011227DC72}" destId="{7DA66ED9-28A5-405D-B5BE-E73EA4A4F910}" srcOrd="0" destOrd="0" presId="urn:microsoft.com/office/officeart/2005/8/layout/vList5"/>
    <dgm:cxn modelId="{27028E02-72AB-4C31-AFB1-A6FAA1CEB92A}" srcId="{B764DF27-01E7-457A-AB7F-89FF1B7F4B5B}" destId="{42A0F222-CD8E-4327-8081-577D6770328E}" srcOrd="1" destOrd="0" parTransId="{66C227E6-0F3E-4BEC-8F5E-7FF8BB2D5DBF}" sibTransId="{EE330E50-83D9-47B2-B7A4-095612815FC6}"/>
    <dgm:cxn modelId="{A3454D06-4ED9-47E9-8F2C-D0987BC5C941}" type="presOf" srcId="{135BC02D-A6DE-4750-A8E7-C4C328DAF7A1}" destId="{145611FB-706C-48E3-B717-C986C8B27438}" srcOrd="0" destOrd="1" presId="urn:microsoft.com/office/officeart/2005/8/layout/vList5"/>
    <dgm:cxn modelId="{7BB31A0E-52AB-479A-8230-9F78244ED828}" srcId="{B16D68D1-F154-453F-9C65-61FE38F0A6AE}" destId="{C3FA3855-6EC7-4F2B-AC26-7C3FA4733478}" srcOrd="2" destOrd="0" parTransId="{32649A34-4D62-4B5C-975F-BC06A1BC7C67}" sibTransId="{30E22F1F-A68E-4D45-BD9C-0544611C9CDF}"/>
    <dgm:cxn modelId="{BA62B010-1CAC-469E-B4BC-6DC8BCC71272}" type="presOf" srcId="{C3FA3855-6EC7-4F2B-AC26-7C3FA4733478}" destId="{7DA66ED9-28A5-405D-B5BE-E73EA4A4F910}" srcOrd="0" destOrd="2" presId="urn:microsoft.com/office/officeart/2005/8/layout/vList5"/>
    <dgm:cxn modelId="{33515528-C441-464D-8235-89ADF93CB5ED}" srcId="{4E7B0328-1CAE-49BA-A324-802137962204}" destId="{827372C2-26BE-4F9B-9621-2D5B9420F541}" srcOrd="0" destOrd="0" parTransId="{0362FABD-9B19-4C2B-845C-63D37B72EF7E}" sibTransId="{6365FAB0-9D38-4C75-9760-A1799E427667}"/>
    <dgm:cxn modelId="{E613AD2A-4FA5-4376-9B0E-B2143C7E19AE}" type="presOf" srcId="{2796FAF0-64FB-4443-BD3E-07CB87E955A4}" destId="{7DA66ED9-28A5-405D-B5BE-E73EA4A4F910}" srcOrd="0" destOrd="3" presId="urn:microsoft.com/office/officeart/2005/8/layout/vList5"/>
    <dgm:cxn modelId="{C499812B-648E-4C2B-B686-717962FCF89A}" type="presOf" srcId="{B69DBE73-4D22-438D-A779-29D783BED4BC}" destId="{145611FB-706C-48E3-B717-C986C8B27438}" srcOrd="0" destOrd="2" presId="urn:microsoft.com/office/officeart/2005/8/layout/vList5"/>
    <dgm:cxn modelId="{B4BB6146-16BC-43EE-8439-F415385CD292}" type="presOf" srcId="{B764DF27-01E7-457A-AB7F-89FF1B7F4B5B}" destId="{C81301F5-FC0C-460A-88B8-9D0BCF4526FF}" srcOrd="0" destOrd="0" presId="urn:microsoft.com/office/officeart/2005/8/layout/vList5"/>
    <dgm:cxn modelId="{C9EECF6E-0A7B-4983-9254-6C5B2735A742}" type="presOf" srcId="{6D2552BF-F797-48B1-A882-37F5E3FDCD23}" destId="{145611FB-706C-48E3-B717-C986C8B27438}" srcOrd="0" destOrd="0" presId="urn:microsoft.com/office/officeart/2005/8/layout/vList5"/>
    <dgm:cxn modelId="{BFEE8C50-6C95-4673-8F93-D5ED0AE877F7}" srcId="{B69DBE73-4D22-438D-A779-29D783BED4BC}" destId="{70AC7E80-DC8F-40A2-B0D3-BBFEE3DDE602}" srcOrd="0" destOrd="0" parTransId="{0DF88052-E259-411B-8F07-3A7300F8D56E}" sibTransId="{AC21483D-AD6F-4FAF-B313-AE368D98239D}"/>
    <dgm:cxn modelId="{537F7854-1990-48C7-AE0E-3A96092925DC}" srcId="{827372C2-26BE-4F9B-9621-2D5B9420F541}" destId="{6D2552BF-F797-48B1-A882-37F5E3FDCD23}" srcOrd="0" destOrd="0" parTransId="{9EF9DC72-3760-49D0-831F-B724A50D918D}" sibTransId="{3604F7BD-F438-45DE-B49E-916414C94512}"/>
    <dgm:cxn modelId="{96C0C154-F5C5-41DB-8D45-8FB37301CEE5}" type="presOf" srcId="{41FF7560-CE88-412A-A86C-8EF44155CE87}" destId="{9820B4A2-0F29-465D-9A8B-179780960506}" srcOrd="0" destOrd="0" presId="urn:microsoft.com/office/officeart/2005/8/layout/vList5"/>
    <dgm:cxn modelId="{35064A78-5177-4B34-908F-8AC0CF23E37F}" type="presOf" srcId="{42A0F222-CD8E-4327-8081-577D6770328E}" destId="{9820B4A2-0F29-465D-9A8B-179780960506}" srcOrd="0" destOrd="1" presId="urn:microsoft.com/office/officeart/2005/8/layout/vList5"/>
    <dgm:cxn modelId="{A400F281-7BE9-4DEE-85C8-58BBDEBC52D6}" srcId="{4E7B0328-1CAE-49BA-A324-802137962204}" destId="{B764DF27-01E7-457A-AB7F-89FF1B7F4B5B}" srcOrd="1" destOrd="0" parTransId="{C953287D-7E78-436C-AA34-DE761E692147}" sibTransId="{EE77121D-DBC2-4633-9A02-662C5FB646C9}"/>
    <dgm:cxn modelId="{95B63986-79A3-4A33-A507-7438D873AAA4}" srcId="{4E7B0328-1CAE-49BA-A324-802137962204}" destId="{B16D68D1-F154-453F-9C65-61FE38F0A6AE}" srcOrd="2" destOrd="0" parTransId="{BCA3A156-243D-45FB-83C8-4D40A5211B98}" sibTransId="{959E2D90-4CAB-4D59-9240-BC0556CFF1C2}"/>
    <dgm:cxn modelId="{327A4395-F629-436B-92CD-F6D1503B869E}" srcId="{B16D68D1-F154-453F-9C65-61FE38F0A6AE}" destId="{B4D1E93C-7C12-43FE-A0D8-314CCE9161FF}" srcOrd="1" destOrd="0" parTransId="{072409FA-CD7E-4A2B-9DE0-D1555F3A938B}" sibTransId="{40FF5810-3A28-4F3C-9FF2-0D6A427C0FD7}"/>
    <dgm:cxn modelId="{89A3BA9B-470B-4EBD-8F55-EE84F2414A30}" type="presOf" srcId="{4E7B0328-1CAE-49BA-A324-802137962204}" destId="{62A89C5D-918B-4971-BA0D-77C7A2789A7C}" srcOrd="0" destOrd="0" presId="urn:microsoft.com/office/officeart/2005/8/layout/vList5"/>
    <dgm:cxn modelId="{2B09B49E-CC1C-478C-81A5-C9B524034CC4}" srcId="{B16D68D1-F154-453F-9C65-61FE38F0A6AE}" destId="{2796FAF0-64FB-4443-BD3E-07CB87E955A4}" srcOrd="3" destOrd="0" parTransId="{4F28FF1B-0DE1-4C43-9F55-7CB40FEC01C4}" sibTransId="{5FA2BDA6-3356-4A9E-9664-1767E31D8D28}"/>
    <dgm:cxn modelId="{1C6E83A5-6BB0-4DF0-AA85-C58F432EA4EF}" srcId="{827372C2-26BE-4F9B-9621-2D5B9420F541}" destId="{B69DBE73-4D22-438D-A779-29D783BED4BC}" srcOrd="1" destOrd="0" parTransId="{5CAB6960-30A2-4AD9-8140-1B099C1F1AF9}" sibTransId="{75B8617D-3915-45FC-8BEA-B5C485361179}"/>
    <dgm:cxn modelId="{64A603AB-B07D-41B0-A18D-D03AD135D50F}" type="presOf" srcId="{B16D68D1-F154-453F-9C65-61FE38F0A6AE}" destId="{0DECECC7-301E-4423-B8AD-310B4E105243}" srcOrd="0" destOrd="0" presId="urn:microsoft.com/office/officeart/2005/8/layout/vList5"/>
    <dgm:cxn modelId="{22E456CE-D8DD-456E-9ADF-ECCF42F1FD70}" type="presOf" srcId="{827372C2-26BE-4F9B-9621-2D5B9420F541}" destId="{83DE881F-2764-4144-97C1-E0710EF60861}" srcOrd="0" destOrd="0" presId="urn:microsoft.com/office/officeart/2005/8/layout/vList5"/>
    <dgm:cxn modelId="{7748B4CF-A1B1-4A8E-822A-AF6D64899C98}" type="presOf" srcId="{B4D1E93C-7C12-43FE-A0D8-314CCE9161FF}" destId="{7DA66ED9-28A5-405D-B5BE-E73EA4A4F910}" srcOrd="0" destOrd="1" presId="urn:microsoft.com/office/officeart/2005/8/layout/vList5"/>
    <dgm:cxn modelId="{F47076D2-6B74-4148-91C8-969189F602AC}" srcId="{6D2552BF-F797-48B1-A882-37F5E3FDCD23}" destId="{135BC02D-A6DE-4750-A8E7-C4C328DAF7A1}" srcOrd="0" destOrd="0" parTransId="{B86F307A-AAA6-41B0-BA9C-B9A0C8C20F90}" sibTransId="{BC033B82-45C5-477A-B19F-A00B66CF1C3D}"/>
    <dgm:cxn modelId="{88B070D3-BE9B-4AC6-8607-60D5951A493C}" type="presOf" srcId="{70AC7E80-DC8F-40A2-B0D3-BBFEE3DDE602}" destId="{145611FB-706C-48E3-B717-C986C8B27438}" srcOrd="0" destOrd="3" presId="urn:microsoft.com/office/officeart/2005/8/layout/vList5"/>
    <dgm:cxn modelId="{59B548EC-A35C-4D61-801B-C6E63D2E8904}" srcId="{B16D68D1-F154-453F-9C65-61FE38F0A6AE}" destId="{8DC3DFF0-28C2-4914-8B90-74011227DC72}" srcOrd="0" destOrd="0" parTransId="{EF5697A6-89B1-4132-A4B6-F3B84F2FEC0B}" sibTransId="{59F7FB7C-B4EE-4BA1-B270-AE6401D1B6F4}"/>
    <dgm:cxn modelId="{2F9AEBF3-E268-4C57-91EF-064B08B61A9C}" srcId="{B764DF27-01E7-457A-AB7F-89FF1B7F4B5B}" destId="{41FF7560-CE88-412A-A86C-8EF44155CE87}" srcOrd="0" destOrd="0" parTransId="{9D6D9EE3-72A6-444E-A22D-146F3ECD4102}" sibTransId="{D30F1B42-9AB9-4FDA-BA07-6FA6AD66DF0D}"/>
    <dgm:cxn modelId="{A399035A-268B-439A-A20A-A446D143BA06}" type="presParOf" srcId="{62A89C5D-918B-4971-BA0D-77C7A2789A7C}" destId="{2C383191-547D-48AE-8431-5560AFD20A0E}" srcOrd="0" destOrd="0" presId="urn:microsoft.com/office/officeart/2005/8/layout/vList5"/>
    <dgm:cxn modelId="{605B0271-6B28-4C1E-88C7-C2E0CA2C3D8A}" type="presParOf" srcId="{2C383191-547D-48AE-8431-5560AFD20A0E}" destId="{83DE881F-2764-4144-97C1-E0710EF60861}" srcOrd="0" destOrd="0" presId="urn:microsoft.com/office/officeart/2005/8/layout/vList5"/>
    <dgm:cxn modelId="{1FCD7356-4B85-4A0B-BB6B-96919817644D}" type="presParOf" srcId="{2C383191-547D-48AE-8431-5560AFD20A0E}" destId="{145611FB-706C-48E3-B717-C986C8B27438}" srcOrd="1" destOrd="0" presId="urn:microsoft.com/office/officeart/2005/8/layout/vList5"/>
    <dgm:cxn modelId="{EB7DCA3D-5050-487A-9EBC-A0D1E943F986}" type="presParOf" srcId="{62A89C5D-918B-4971-BA0D-77C7A2789A7C}" destId="{6F65074C-A064-433A-9662-12E2BE81C559}" srcOrd="1" destOrd="0" presId="urn:microsoft.com/office/officeart/2005/8/layout/vList5"/>
    <dgm:cxn modelId="{C65838DC-8AB5-4F04-94FA-79BF1E42571B}" type="presParOf" srcId="{62A89C5D-918B-4971-BA0D-77C7A2789A7C}" destId="{52745466-A623-46F5-B071-9539B9F1BED6}" srcOrd="2" destOrd="0" presId="urn:microsoft.com/office/officeart/2005/8/layout/vList5"/>
    <dgm:cxn modelId="{F3066C43-5DFA-4DF6-B78B-F0F2525FA633}" type="presParOf" srcId="{52745466-A623-46F5-B071-9539B9F1BED6}" destId="{C81301F5-FC0C-460A-88B8-9D0BCF4526FF}" srcOrd="0" destOrd="0" presId="urn:microsoft.com/office/officeart/2005/8/layout/vList5"/>
    <dgm:cxn modelId="{8FFCBC4F-442C-4A33-B97B-DFA2830369E0}" type="presParOf" srcId="{52745466-A623-46F5-B071-9539B9F1BED6}" destId="{9820B4A2-0F29-465D-9A8B-179780960506}" srcOrd="1" destOrd="0" presId="urn:microsoft.com/office/officeart/2005/8/layout/vList5"/>
    <dgm:cxn modelId="{4AC6044A-25F7-4FCE-AE22-F02E943AB2E4}" type="presParOf" srcId="{62A89C5D-918B-4971-BA0D-77C7A2789A7C}" destId="{9A4BB582-9254-4C75-ACA4-C34D6B94E303}" srcOrd="3" destOrd="0" presId="urn:microsoft.com/office/officeart/2005/8/layout/vList5"/>
    <dgm:cxn modelId="{E03A8ABE-6D37-46AF-B722-36F79323E424}" type="presParOf" srcId="{62A89C5D-918B-4971-BA0D-77C7A2789A7C}" destId="{543EFC63-2447-4CCF-BC5E-4F0F5B11868F}" srcOrd="4" destOrd="0" presId="urn:microsoft.com/office/officeart/2005/8/layout/vList5"/>
    <dgm:cxn modelId="{05816750-9F40-4756-A981-63B4780FB25C}" type="presParOf" srcId="{543EFC63-2447-4CCF-BC5E-4F0F5B11868F}" destId="{0DECECC7-301E-4423-B8AD-310B4E105243}" srcOrd="0" destOrd="0" presId="urn:microsoft.com/office/officeart/2005/8/layout/vList5"/>
    <dgm:cxn modelId="{F1D9B5CC-E590-45B4-8051-199B614822A5}" type="presParOf" srcId="{543EFC63-2447-4CCF-BC5E-4F0F5B11868F}" destId="{7DA66ED9-28A5-405D-B5BE-E73EA4A4F910}"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417C91-6FA9-47F2-99D0-D02991635E78}">
      <dsp:nvSpPr>
        <dsp:cNvPr id="0" name=""/>
        <dsp:cNvSpPr/>
      </dsp:nvSpPr>
      <dsp:spPr>
        <a:xfrm>
          <a:off x="17621" y="1045322"/>
          <a:ext cx="2185380" cy="2294649"/>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Volunteer applies for permit through system, including selecting assessor, attaching supporting documentation</a:t>
          </a:r>
        </a:p>
      </dsp:txBody>
      <dsp:txXfrm>
        <a:off x="81629" y="1109330"/>
        <a:ext cx="2057364" cy="2166633"/>
      </dsp:txXfrm>
    </dsp:sp>
    <dsp:sp modelId="{0F0126AF-AAB7-4CB7-AECF-A04D12C56C5E}">
      <dsp:nvSpPr>
        <dsp:cNvPr id="0" name=""/>
        <dsp:cNvSpPr/>
      </dsp:nvSpPr>
      <dsp:spPr>
        <a:xfrm>
          <a:off x="2421540" y="1921659"/>
          <a:ext cx="463300" cy="54197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2421540" y="2030054"/>
        <a:ext cx="324310" cy="325184"/>
      </dsp:txXfrm>
    </dsp:sp>
    <dsp:sp modelId="{639CFCE5-FAF0-419E-8E75-8797FA8C8C28}">
      <dsp:nvSpPr>
        <dsp:cNvPr id="0" name=""/>
        <dsp:cNvSpPr/>
      </dsp:nvSpPr>
      <dsp:spPr>
        <a:xfrm>
          <a:off x="3077154" y="1045322"/>
          <a:ext cx="2185380" cy="2294649"/>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Selected assessor carries out technical assessment and confirms Scout rules knowledge</a:t>
          </a:r>
        </a:p>
      </dsp:txBody>
      <dsp:txXfrm>
        <a:off x="3141162" y="1109330"/>
        <a:ext cx="2057364" cy="2166633"/>
      </dsp:txXfrm>
    </dsp:sp>
    <dsp:sp modelId="{35B837E2-F2C9-4C99-98AC-A39D588F9264}">
      <dsp:nvSpPr>
        <dsp:cNvPr id="0" name=""/>
        <dsp:cNvSpPr/>
      </dsp:nvSpPr>
      <dsp:spPr>
        <a:xfrm>
          <a:off x="5481073" y="1921659"/>
          <a:ext cx="463300" cy="54197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5481073" y="2030054"/>
        <a:ext cx="324310" cy="325184"/>
      </dsp:txXfrm>
    </dsp:sp>
    <dsp:sp modelId="{4E02BE46-C631-478C-8172-4FF67ACF4F5C}">
      <dsp:nvSpPr>
        <dsp:cNvPr id="0" name=""/>
        <dsp:cNvSpPr/>
      </dsp:nvSpPr>
      <dsp:spPr>
        <a:xfrm>
          <a:off x="6136687" y="1045322"/>
          <a:ext cx="2185380" cy="2294649"/>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Technical assessment is recorded on system</a:t>
          </a:r>
        </a:p>
      </dsp:txBody>
      <dsp:txXfrm>
        <a:off x="6200695" y="1109330"/>
        <a:ext cx="2057364" cy="2166633"/>
      </dsp:txXfrm>
    </dsp:sp>
    <dsp:sp modelId="{A6F29520-B477-4C31-BCFF-39D9AFF60BB4}">
      <dsp:nvSpPr>
        <dsp:cNvPr id="0" name=""/>
        <dsp:cNvSpPr/>
      </dsp:nvSpPr>
      <dsp:spPr>
        <a:xfrm>
          <a:off x="8538700" y="1921659"/>
          <a:ext cx="459259" cy="54197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8538700" y="2030054"/>
        <a:ext cx="321481" cy="325184"/>
      </dsp:txXfrm>
    </dsp:sp>
    <dsp:sp modelId="{91724BA9-D402-4EB5-9B21-7FF3BB0CC679}">
      <dsp:nvSpPr>
        <dsp:cNvPr id="0" name=""/>
        <dsp:cNvSpPr/>
      </dsp:nvSpPr>
      <dsp:spPr>
        <a:xfrm>
          <a:off x="9188596" y="1045322"/>
          <a:ext cx="2185380" cy="2294649"/>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Lead Volunteer or accredited person approves permit on system after confirming personal suitability </a:t>
          </a:r>
        </a:p>
      </dsp:txBody>
      <dsp:txXfrm>
        <a:off x="9252604" y="1109330"/>
        <a:ext cx="2057364" cy="216663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417C91-6FA9-47F2-99D0-D02991635E78}">
      <dsp:nvSpPr>
        <dsp:cNvPr id="0" name=""/>
        <dsp:cNvSpPr/>
      </dsp:nvSpPr>
      <dsp:spPr>
        <a:xfrm>
          <a:off x="17621" y="1045322"/>
          <a:ext cx="2185380" cy="2294649"/>
        </a:xfrm>
        <a:prstGeom prst="roundRect">
          <a:avLst>
            <a:gd name="adj" fmla="val 10000"/>
          </a:avLst>
        </a:prstGeom>
        <a:solidFill>
          <a:schemeClr val="accent6">
            <a:lumMod val="60000"/>
            <a:lumOff val="4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Volunteer applies for permit through system, including selecting assessor, attaching supporting documentation</a:t>
          </a:r>
        </a:p>
      </dsp:txBody>
      <dsp:txXfrm>
        <a:off x="81629" y="1109330"/>
        <a:ext cx="2057364" cy="2166633"/>
      </dsp:txXfrm>
    </dsp:sp>
    <dsp:sp modelId="{0F0126AF-AAB7-4CB7-AECF-A04D12C56C5E}">
      <dsp:nvSpPr>
        <dsp:cNvPr id="0" name=""/>
        <dsp:cNvSpPr/>
      </dsp:nvSpPr>
      <dsp:spPr>
        <a:xfrm>
          <a:off x="2421540" y="1921659"/>
          <a:ext cx="463300" cy="54197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2421540" y="2030054"/>
        <a:ext cx="324310" cy="325184"/>
      </dsp:txXfrm>
    </dsp:sp>
    <dsp:sp modelId="{639CFCE5-FAF0-419E-8E75-8797FA8C8C28}">
      <dsp:nvSpPr>
        <dsp:cNvPr id="0" name=""/>
        <dsp:cNvSpPr/>
      </dsp:nvSpPr>
      <dsp:spPr>
        <a:xfrm>
          <a:off x="3077154" y="1045322"/>
          <a:ext cx="2185380" cy="2294649"/>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Selected assessor carries out technical assessment and confirms Scout rules knowledge</a:t>
          </a:r>
        </a:p>
      </dsp:txBody>
      <dsp:txXfrm>
        <a:off x="3141162" y="1109330"/>
        <a:ext cx="2057364" cy="2166633"/>
      </dsp:txXfrm>
    </dsp:sp>
    <dsp:sp modelId="{35B837E2-F2C9-4C99-98AC-A39D588F9264}">
      <dsp:nvSpPr>
        <dsp:cNvPr id="0" name=""/>
        <dsp:cNvSpPr/>
      </dsp:nvSpPr>
      <dsp:spPr>
        <a:xfrm>
          <a:off x="5481073" y="1921659"/>
          <a:ext cx="463300" cy="54197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5481073" y="2030054"/>
        <a:ext cx="324310" cy="325184"/>
      </dsp:txXfrm>
    </dsp:sp>
    <dsp:sp modelId="{4E02BE46-C631-478C-8172-4FF67ACF4F5C}">
      <dsp:nvSpPr>
        <dsp:cNvPr id="0" name=""/>
        <dsp:cNvSpPr/>
      </dsp:nvSpPr>
      <dsp:spPr>
        <a:xfrm>
          <a:off x="6136687" y="1045322"/>
          <a:ext cx="2185380" cy="2294649"/>
        </a:xfrm>
        <a:prstGeom prst="roundRect">
          <a:avLst>
            <a:gd name="adj" fmla="val 10000"/>
          </a:avLst>
        </a:prstGeom>
        <a:solidFill>
          <a:schemeClr val="accent6">
            <a:lumMod val="20000"/>
            <a:lumOff val="8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Technical assessment is recorded on system</a:t>
          </a:r>
        </a:p>
      </dsp:txBody>
      <dsp:txXfrm>
        <a:off x="6200695" y="1109330"/>
        <a:ext cx="2057364" cy="2166633"/>
      </dsp:txXfrm>
    </dsp:sp>
    <dsp:sp modelId="{A6F29520-B477-4C31-BCFF-39D9AFF60BB4}">
      <dsp:nvSpPr>
        <dsp:cNvPr id="0" name=""/>
        <dsp:cNvSpPr/>
      </dsp:nvSpPr>
      <dsp:spPr>
        <a:xfrm>
          <a:off x="8538700" y="1921659"/>
          <a:ext cx="459259" cy="54197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8538700" y="2030054"/>
        <a:ext cx="321481" cy="325184"/>
      </dsp:txXfrm>
    </dsp:sp>
    <dsp:sp modelId="{91724BA9-D402-4EB5-9B21-7FF3BB0CC679}">
      <dsp:nvSpPr>
        <dsp:cNvPr id="0" name=""/>
        <dsp:cNvSpPr/>
      </dsp:nvSpPr>
      <dsp:spPr>
        <a:xfrm>
          <a:off x="9188596" y="1045322"/>
          <a:ext cx="2185380" cy="2294649"/>
        </a:xfrm>
        <a:prstGeom prst="roundRect">
          <a:avLst>
            <a:gd name="adj" fmla="val 10000"/>
          </a:avLst>
        </a:prstGeom>
        <a:solidFill>
          <a:schemeClr val="accent6">
            <a:lumMod val="20000"/>
            <a:lumOff val="8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Lead Volunteer or accredited person approves permit on system after confirming personal suitability </a:t>
          </a:r>
        </a:p>
      </dsp:txBody>
      <dsp:txXfrm>
        <a:off x="9252604" y="1109330"/>
        <a:ext cx="2057364" cy="216663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9CFCE5-FAF0-419E-8E75-8797FA8C8C28}">
      <dsp:nvSpPr>
        <dsp:cNvPr id="0" name=""/>
        <dsp:cNvSpPr/>
      </dsp:nvSpPr>
      <dsp:spPr>
        <a:xfrm>
          <a:off x="5437" y="1492502"/>
          <a:ext cx="1685652" cy="2433661"/>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GB" sz="1300" kern="1200"/>
            <a:t>Through the system, any volunteer may submit a Good Service Award nomination, including supporting information, attachments and the citation</a:t>
          </a:r>
        </a:p>
      </dsp:txBody>
      <dsp:txXfrm>
        <a:off x="54808" y="1541873"/>
        <a:ext cx="1586910" cy="2334919"/>
      </dsp:txXfrm>
    </dsp:sp>
    <dsp:sp modelId="{35B837E2-F2C9-4C99-98AC-A39D588F9264}">
      <dsp:nvSpPr>
        <dsp:cNvPr id="0" name=""/>
        <dsp:cNvSpPr/>
      </dsp:nvSpPr>
      <dsp:spPr>
        <a:xfrm>
          <a:off x="1859655" y="2500312"/>
          <a:ext cx="357358" cy="418041"/>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a:p>
      </dsp:txBody>
      <dsp:txXfrm>
        <a:off x="1859655" y="2583920"/>
        <a:ext cx="250151" cy="250825"/>
      </dsp:txXfrm>
    </dsp:sp>
    <dsp:sp modelId="{4E02BE46-C631-478C-8172-4FF67ACF4F5C}">
      <dsp:nvSpPr>
        <dsp:cNvPr id="0" name=""/>
        <dsp:cNvSpPr/>
      </dsp:nvSpPr>
      <dsp:spPr>
        <a:xfrm>
          <a:off x="2365351" y="1492502"/>
          <a:ext cx="1685652" cy="2433661"/>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GB" sz="1300" kern="1200"/>
            <a:t>At the time of creating the submission, the system checks whether award criteria are met to allow for the creation of the nomination to proceed</a:t>
          </a:r>
        </a:p>
      </dsp:txBody>
      <dsp:txXfrm>
        <a:off x="2414722" y="1541873"/>
        <a:ext cx="1586910" cy="2334919"/>
      </dsp:txXfrm>
    </dsp:sp>
    <dsp:sp modelId="{A6F29520-B477-4C31-BCFF-39D9AFF60BB4}">
      <dsp:nvSpPr>
        <dsp:cNvPr id="0" name=""/>
        <dsp:cNvSpPr/>
      </dsp:nvSpPr>
      <dsp:spPr>
        <a:xfrm>
          <a:off x="4219569" y="2500312"/>
          <a:ext cx="357358" cy="418041"/>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a:p>
      </dsp:txBody>
      <dsp:txXfrm>
        <a:off x="4219569" y="2583920"/>
        <a:ext cx="250151" cy="250825"/>
      </dsp:txXfrm>
    </dsp:sp>
    <dsp:sp modelId="{3026789A-2072-46DA-B3C7-14458A3185B0}">
      <dsp:nvSpPr>
        <dsp:cNvPr id="0" name=""/>
        <dsp:cNvSpPr/>
      </dsp:nvSpPr>
      <dsp:spPr>
        <a:xfrm>
          <a:off x="4725265" y="1492502"/>
          <a:ext cx="1685652" cy="2433661"/>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GB" sz="1300" kern="1200"/>
            <a:t>On the system, the Lead Volunteer or Approver will then review (and edit if required) the nomination and approve or reject this</a:t>
          </a:r>
        </a:p>
      </dsp:txBody>
      <dsp:txXfrm>
        <a:off x="4774636" y="1541873"/>
        <a:ext cx="1586910" cy="2334919"/>
      </dsp:txXfrm>
    </dsp:sp>
    <dsp:sp modelId="{271A4562-9D97-4360-B21B-C5661B35260D}">
      <dsp:nvSpPr>
        <dsp:cNvPr id="0" name=""/>
        <dsp:cNvSpPr/>
      </dsp:nvSpPr>
      <dsp:spPr>
        <a:xfrm>
          <a:off x="6579483" y="2500312"/>
          <a:ext cx="357358" cy="418041"/>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a:p>
      </dsp:txBody>
      <dsp:txXfrm>
        <a:off x="6579483" y="2583920"/>
        <a:ext cx="250151" cy="250825"/>
      </dsp:txXfrm>
    </dsp:sp>
    <dsp:sp modelId="{91724BA9-D402-4EB5-9B21-7FF3BB0CC679}">
      <dsp:nvSpPr>
        <dsp:cNvPr id="0" name=""/>
        <dsp:cNvSpPr/>
      </dsp:nvSpPr>
      <dsp:spPr>
        <a:xfrm>
          <a:off x="7085178" y="1492502"/>
          <a:ext cx="1685652" cy="2433661"/>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GB" sz="1300" kern="1200"/>
            <a:t>Approved Good Service Award nomination sent to HQ by system</a:t>
          </a:r>
        </a:p>
      </dsp:txBody>
      <dsp:txXfrm>
        <a:off x="7134549" y="1541873"/>
        <a:ext cx="1586910" cy="2334919"/>
      </dsp:txXfrm>
    </dsp:sp>
    <dsp:sp modelId="{DA7C8EA8-E315-49A9-A92A-99334D18DC00}">
      <dsp:nvSpPr>
        <dsp:cNvPr id="0" name=""/>
        <dsp:cNvSpPr/>
      </dsp:nvSpPr>
      <dsp:spPr>
        <a:xfrm>
          <a:off x="8939396" y="2500312"/>
          <a:ext cx="357358" cy="418041"/>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a:p>
      </dsp:txBody>
      <dsp:txXfrm>
        <a:off x="8939396" y="2583920"/>
        <a:ext cx="250151" cy="250825"/>
      </dsp:txXfrm>
    </dsp:sp>
    <dsp:sp modelId="{B4FD00E7-9CEB-4AEC-BEA2-0CBF7A37724B}">
      <dsp:nvSpPr>
        <dsp:cNvPr id="0" name=""/>
        <dsp:cNvSpPr/>
      </dsp:nvSpPr>
      <dsp:spPr>
        <a:xfrm>
          <a:off x="9445092" y="1492502"/>
          <a:ext cx="1685652" cy="2433661"/>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GB" sz="1300" kern="1200"/>
            <a:t>Awards sent out by HQ quarterly to the  accredited Awards parcel recipient</a:t>
          </a:r>
        </a:p>
      </dsp:txBody>
      <dsp:txXfrm>
        <a:off x="9494463" y="1541873"/>
        <a:ext cx="1586910" cy="233491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9CFCE5-FAF0-419E-8E75-8797FA8C8C28}">
      <dsp:nvSpPr>
        <dsp:cNvPr id="0" name=""/>
        <dsp:cNvSpPr/>
      </dsp:nvSpPr>
      <dsp:spPr>
        <a:xfrm>
          <a:off x="5437" y="1492502"/>
          <a:ext cx="1685652" cy="2433661"/>
        </a:xfrm>
        <a:prstGeom prst="roundRect">
          <a:avLst>
            <a:gd name="adj" fmla="val 10000"/>
          </a:avLst>
        </a:prstGeom>
        <a:solidFill>
          <a:schemeClr val="accent6">
            <a:lumMod val="60000"/>
            <a:lumOff val="4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GB" sz="1300" kern="1200"/>
            <a:t>Through the system, any volunteer may submit a Good Service Award nomination, including supporting information, attachments and the citation</a:t>
          </a:r>
        </a:p>
      </dsp:txBody>
      <dsp:txXfrm>
        <a:off x="54808" y="1541873"/>
        <a:ext cx="1586910" cy="2334919"/>
      </dsp:txXfrm>
    </dsp:sp>
    <dsp:sp modelId="{35B837E2-F2C9-4C99-98AC-A39D588F9264}">
      <dsp:nvSpPr>
        <dsp:cNvPr id="0" name=""/>
        <dsp:cNvSpPr/>
      </dsp:nvSpPr>
      <dsp:spPr>
        <a:xfrm>
          <a:off x="1859655" y="2500312"/>
          <a:ext cx="357358" cy="418041"/>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a:p>
      </dsp:txBody>
      <dsp:txXfrm>
        <a:off x="1859655" y="2583920"/>
        <a:ext cx="250151" cy="250825"/>
      </dsp:txXfrm>
    </dsp:sp>
    <dsp:sp modelId="{4E02BE46-C631-478C-8172-4FF67ACF4F5C}">
      <dsp:nvSpPr>
        <dsp:cNvPr id="0" name=""/>
        <dsp:cNvSpPr/>
      </dsp:nvSpPr>
      <dsp:spPr>
        <a:xfrm>
          <a:off x="2365351" y="1492502"/>
          <a:ext cx="1685652" cy="2433661"/>
        </a:xfrm>
        <a:prstGeom prst="roundRect">
          <a:avLst>
            <a:gd name="adj" fmla="val 10000"/>
          </a:avLst>
        </a:prstGeom>
        <a:solidFill>
          <a:schemeClr val="accent6">
            <a:lumMod val="60000"/>
            <a:lumOff val="4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GB" sz="1300" kern="1200"/>
            <a:t>At the time of creating the submission, the system checks whether award criteria are met to allow for the creation of the nomination to proceed</a:t>
          </a:r>
        </a:p>
      </dsp:txBody>
      <dsp:txXfrm>
        <a:off x="2414722" y="1541873"/>
        <a:ext cx="1586910" cy="2334919"/>
      </dsp:txXfrm>
    </dsp:sp>
    <dsp:sp modelId="{A6F29520-B477-4C31-BCFF-39D9AFF60BB4}">
      <dsp:nvSpPr>
        <dsp:cNvPr id="0" name=""/>
        <dsp:cNvSpPr/>
      </dsp:nvSpPr>
      <dsp:spPr>
        <a:xfrm>
          <a:off x="4219569" y="2500312"/>
          <a:ext cx="357358" cy="418041"/>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a:p>
      </dsp:txBody>
      <dsp:txXfrm>
        <a:off x="4219569" y="2583920"/>
        <a:ext cx="250151" cy="250825"/>
      </dsp:txXfrm>
    </dsp:sp>
    <dsp:sp modelId="{3026789A-2072-46DA-B3C7-14458A3185B0}">
      <dsp:nvSpPr>
        <dsp:cNvPr id="0" name=""/>
        <dsp:cNvSpPr/>
      </dsp:nvSpPr>
      <dsp:spPr>
        <a:xfrm>
          <a:off x="4725265" y="1492502"/>
          <a:ext cx="1685652" cy="2433661"/>
        </a:xfrm>
        <a:prstGeom prst="roundRect">
          <a:avLst>
            <a:gd name="adj" fmla="val 10000"/>
          </a:avLst>
        </a:prstGeom>
        <a:solidFill>
          <a:schemeClr val="accent6">
            <a:lumMod val="60000"/>
            <a:lumOff val="4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GB" sz="1300" kern="1200"/>
            <a:t>On the system, the Lead Volunteer or Approver will then review (and edit if required) the nomination and approve or reject this</a:t>
          </a:r>
        </a:p>
      </dsp:txBody>
      <dsp:txXfrm>
        <a:off x="4774636" y="1541873"/>
        <a:ext cx="1586910" cy="2334919"/>
      </dsp:txXfrm>
    </dsp:sp>
    <dsp:sp modelId="{271A4562-9D97-4360-B21B-C5661B35260D}">
      <dsp:nvSpPr>
        <dsp:cNvPr id="0" name=""/>
        <dsp:cNvSpPr/>
      </dsp:nvSpPr>
      <dsp:spPr>
        <a:xfrm>
          <a:off x="6579483" y="2500312"/>
          <a:ext cx="357358" cy="418041"/>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a:p>
      </dsp:txBody>
      <dsp:txXfrm>
        <a:off x="6579483" y="2583920"/>
        <a:ext cx="250151" cy="250825"/>
      </dsp:txXfrm>
    </dsp:sp>
    <dsp:sp modelId="{91724BA9-D402-4EB5-9B21-7FF3BB0CC679}">
      <dsp:nvSpPr>
        <dsp:cNvPr id="0" name=""/>
        <dsp:cNvSpPr/>
      </dsp:nvSpPr>
      <dsp:spPr>
        <a:xfrm>
          <a:off x="7085178" y="1492502"/>
          <a:ext cx="1685652" cy="2433661"/>
        </a:xfrm>
        <a:prstGeom prst="roundRect">
          <a:avLst>
            <a:gd name="adj" fmla="val 10000"/>
          </a:avLst>
        </a:prstGeom>
        <a:solidFill>
          <a:schemeClr val="accent6">
            <a:lumMod val="20000"/>
            <a:lumOff val="8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GB" sz="1300" kern="1200"/>
            <a:t>Approved Good Service Award nomination sent to HQ by system</a:t>
          </a:r>
        </a:p>
      </dsp:txBody>
      <dsp:txXfrm>
        <a:off x="7134549" y="1541873"/>
        <a:ext cx="1586910" cy="2334919"/>
      </dsp:txXfrm>
    </dsp:sp>
    <dsp:sp modelId="{DA7C8EA8-E315-49A9-A92A-99334D18DC00}">
      <dsp:nvSpPr>
        <dsp:cNvPr id="0" name=""/>
        <dsp:cNvSpPr/>
      </dsp:nvSpPr>
      <dsp:spPr>
        <a:xfrm>
          <a:off x="8939396" y="2500312"/>
          <a:ext cx="357358" cy="418041"/>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a:p>
      </dsp:txBody>
      <dsp:txXfrm>
        <a:off x="8939396" y="2583920"/>
        <a:ext cx="250151" cy="250825"/>
      </dsp:txXfrm>
    </dsp:sp>
    <dsp:sp modelId="{B4FD00E7-9CEB-4AEC-BEA2-0CBF7A37724B}">
      <dsp:nvSpPr>
        <dsp:cNvPr id="0" name=""/>
        <dsp:cNvSpPr/>
      </dsp:nvSpPr>
      <dsp:spPr>
        <a:xfrm>
          <a:off x="9445092" y="1492502"/>
          <a:ext cx="1685652" cy="2433661"/>
        </a:xfrm>
        <a:prstGeom prst="roundRect">
          <a:avLst>
            <a:gd name="adj" fmla="val 10000"/>
          </a:avLst>
        </a:prstGeom>
        <a:solidFill>
          <a:schemeClr val="accent6">
            <a:lumMod val="20000"/>
            <a:lumOff val="8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GB" sz="1300" kern="1200"/>
            <a:t>Awards sent out by HQ quarterly to the  accredited Awards parcel recipient</a:t>
          </a:r>
        </a:p>
      </dsp:txBody>
      <dsp:txXfrm>
        <a:off x="9494463" y="1541873"/>
        <a:ext cx="1586910" cy="233491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417C91-6FA9-47F2-99D0-D02991635E78}">
      <dsp:nvSpPr>
        <dsp:cNvPr id="0" name=""/>
        <dsp:cNvSpPr/>
      </dsp:nvSpPr>
      <dsp:spPr>
        <a:xfrm>
          <a:off x="0" y="1028189"/>
          <a:ext cx="2171911" cy="2524846"/>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Volunteers submit their Nights Away Notifications (NAN), including risk assessment, through the system</a:t>
          </a:r>
        </a:p>
      </dsp:txBody>
      <dsp:txXfrm>
        <a:off x="63613" y="1091802"/>
        <a:ext cx="2044685" cy="2397620"/>
      </dsp:txXfrm>
    </dsp:sp>
    <dsp:sp modelId="{0F0126AF-AAB7-4CB7-AECF-A04D12C56C5E}">
      <dsp:nvSpPr>
        <dsp:cNvPr id="0" name=""/>
        <dsp:cNvSpPr/>
      </dsp:nvSpPr>
      <dsp:spPr>
        <a:xfrm>
          <a:off x="2387169" y="2021295"/>
          <a:ext cx="456346" cy="53863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2387169" y="2129022"/>
        <a:ext cx="319442" cy="323180"/>
      </dsp:txXfrm>
    </dsp:sp>
    <dsp:sp modelId="{639CFCE5-FAF0-419E-8E75-8797FA8C8C28}">
      <dsp:nvSpPr>
        <dsp:cNvPr id="0" name=""/>
        <dsp:cNvSpPr/>
      </dsp:nvSpPr>
      <dsp:spPr>
        <a:xfrm>
          <a:off x="3032942" y="1028189"/>
          <a:ext cx="2171911" cy="2524846"/>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System adds permit details, learning compliance and criminal records check status of all attending adult members</a:t>
          </a:r>
        </a:p>
      </dsp:txBody>
      <dsp:txXfrm>
        <a:off x="3096555" y="1091802"/>
        <a:ext cx="2044685" cy="2397620"/>
      </dsp:txXfrm>
    </dsp:sp>
    <dsp:sp modelId="{35B837E2-F2C9-4C99-98AC-A39D588F9264}">
      <dsp:nvSpPr>
        <dsp:cNvPr id="0" name=""/>
        <dsp:cNvSpPr/>
      </dsp:nvSpPr>
      <dsp:spPr>
        <a:xfrm>
          <a:off x="5422044" y="2021295"/>
          <a:ext cx="460445" cy="53863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5422044" y="2129022"/>
        <a:ext cx="322312" cy="323180"/>
      </dsp:txXfrm>
    </dsp:sp>
    <dsp:sp modelId="{4E02BE46-C631-478C-8172-4FF67ACF4F5C}">
      <dsp:nvSpPr>
        <dsp:cNvPr id="0" name=""/>
        <dsp:cNvSpPr/>
      </dsp:nvSpPr>
      <dsp:spPr>
        <a:xfrm>
          <a:off x="6073617" y="1028189"/>
          <a:ext cx="2171911" cy="2524846"/>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On the system, Lead Volunteer or accredited Nights Away Approver reviews the NAN form and attached supporting documents</a:t>
          </a:r>
        </a:p>
      </dsp:txBody>
      <dsp:txXfrm>
        <a:off x="6137230" y="1091802"/>
        <a:ext cx="2044685" cy="2397620"/>
      </dsp:txXfrm>
    </dsp:sp>
    <dsp:sp modelId="{A6F29520-B477-4C31-BCFF-39D9AFF60BB4}">
      <dsp:nvSpPr>
        <dsp:cNvPr id="0" name=""/>
        <dsp:cNvSpPr/>
      </dsp:nvSpPr>
      <dsp:spPr>
        <a:xfrm>
          <a:off x="8462720" y="2021295"/>
          <a:ext cx="460445" cy="53863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8462720" y="2129022"/>
        <a:ext cx="322312" cy="323180"/>
      </dsp:txXfrm>
    </dsp:sp>
    <dsp:sp modelId="{91724BA9-D402-4EB5-9B21-7FF3BB0CC679}">
      <dsp:nvSpPr>
        <dsp:cNvPr id="0" name=""/>
        <dsp:cNvSpPr/>
      </dsp:nvSpPr>
      <dsp:spPr>
        <a:xfrm>
          <a:off x="9114293" y="1028189"/>
          <a:ext cx="2171911" cy="2524846"/>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On the system Lead Volunteer or Nights Away Approver approves or rejects the NAN</a:t>
          </a:r>
        </a:p>
      </dsp:txBody>
      <dsp:txXfrm>
        <a:off x="9177906" y="1091802"/>
        <a:ext cx="2044685" cy="239762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417C91-6FA9-47F2-99D0-D02991635E78}">
      <dsp:nvSpPr>
        <dsp:cNvPr id="0" name=""/>
        <dsp:cNvSpPr/>
      </dsp:nvSpPr>
      <dsp:spPr>
        <a:xfrm>
          <a:off x="0" y="1028189"/>
          <a:ext cx="2171911" cy="2524846"/>
        </a:xfrm>
        <a:prstGeom prst="roundRect">
          <a:avLst>
            <a:gd name="adj" fmla="val 10000"/>
          </a:avLst>
        </a:prstGeom>
        <a:solidFill>
          <a:schemeClr val="accent6">
            <a:lumMod val="60000"/>
            <a:lumOff val="4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Volunteers submit their Nights Away Notifications (NAN), including risk assessment, through the system</a:t>
          </a:r>
        </a:p>
      </dsp:txBody>
      <dsp:txXfrm>
        <a:off x="63613" y="1091802"/>
        <a:ext cx="2044685" cy="2397620"/>
      </dsp:txXfrm>
    </dsp:sp>
    <dsp:sp modelId="{0F0126AF-AAB7-4CB7-AECF-A04D12C56C5E}">
      <dsp:nvSpPr>
        <dsp:cNvPr id="0" name=""/>
        <dsp:cNvSpPr/>
      </dsp:nvSpPr>
      <dsp:spPr>
        <a:xfrm>
          <a:off x="2387169" y="2021295"/>
          <a:ext cx="456346" cy="53863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2387169" y="2129022"/>
        <a:ext cx="319442" cy="323180"/>
      </dsp:txXfrm>
    </dsp:sp>
    <dsp:sp modelId="{639CFCE5-FAF0-419E-8E75-8797FA8C8C28}">
      <dsp:nvSpPr>
        <dsp:cNvPr id="0" name=""/>
        <dsp:cNvSpPr/>
      </dsp:nvSpPr>
      <dsp:spPr>
        <a:xfrm>
          <a:off x="3032942" y="1028189"/>
          <a:ext cx="2171911" cy="2524846"/>
        </a:xfrm>
        <a:prstGeom prst="roundRect">
          <a:avLst>
            <a:gd name="adj" fmla="val 10000"/>
          </a:avLst>
        </a:prstGeom>
        <a:solidFill>
          <a:schemeClr val="accent6">
            <a:lumMod val="60000"/>
            <a:lumOff val="4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System adds permit details, learning compliance and criminal records check status of all attending adult members</a:t>
          </a:r>
        </a:p>
      </dsp:txBody>
      <dsp:txXfrm>
        <a:off x="3096555" y="1091802"/>
        <a:ext cx="2044685" cy="2397620"/>
      </dsp:txXfrm>
    </dsp:sp>
    <dsp:sp modelId="{35B837E2-F2C9-4C99-98AC-A39D588F9264}">
      <dsp:nvSpPr>
        <dsp:cNvPr id="0" name=""/>
        <dsp:cNvSpPr/>
      </dsp:nvSpPr>
      <dsp:spPr>
        <a:xfrm>
          <a:off x="5422044" y="2021295"/>
          <a:ext cx="460445" cy="53863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5422044" y="2129022"/>
        <a:ext cx="322312" cy="323180"/>
      </dsp:txXfrm>
    </dsp:sp>
    <dsp:sp modelId="{4E02BE46-C631-478C-8172-4FF67ACF4F5C}">
      <dsp:nvSpPr>
        <dsp:cNvPr id="0" name=""/>
        <dsp:cNvSpPr/>
      </dsp:nvSpPr>
      <dsp:spPr>
        <a:xfrm>
          <a:off x="6073617" y="1028189"/>
          <a:ext cx="2171911" cy="2524846"/>
        </a:xfrm>
        <a:prstGeom prst="roundRect">
          <a:avLst>
            <a:gd name="adj" fmla="val 10000"/>
          </a:avLst>
        </a:prstGeom>
        <a:solidFill>
          <a:schemeClr val="accent6">
            <a:lumMod val="60000"/>
            <a:lumOff val="4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On the system, Lead Volunteer or accredited Nights Away Approver reviews the NAN form and attached supporting documents</a:t>
          </a:r>
        </a:p>
      </dsp:txBody>
      <dsp:txXfrm>
        <a:off x="6137230" y="1091802"/>
        <a:ext cx="2044685" cy="2397620"/>
      </dsp:txXfrm>
    </dsp:sp>
    <dsp:sp modelId="{A6F29520-B477-4C31-BCFF-39D9AFF60BB4}">
      <dsp:nvSpPr>
        <dsp:cNvPr id="0" name=""/>
        <dsp:cNvSpPr/>
      </dsp:nvSpPr>
      <dsp:spPr>
        <a:xfrm>
          <a:off x="8462720" y="2021295"/>
          <a:ext cx="460445" cy="53863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8462720" y="2129022"/>
        <a:ext cx="322312" cy="323180"/>
      </dsp:txXfrm>
    </dsp:sp>
    <dsp:sp modelId="{91724BA9-D402-4EB5-9B21-7FF3BB0CC679}">
      <dsp:nvSpPr>
        <dsp:cNvPr id="0" name=""/>
        <dsp:cNvSpPr/>
      </dsp:nvSpPr>
      <dsp:spPr>
        <a:xfrm>
          <a:off x="9114293" y="1028189"/>
          <a:ext cx="2171911" cy="2524846"/>
        </a:xfrm>
        <a:prstGeom prst="roundRect">
          <a:avLst>
            <a:gd name="adj" fmla="val 10000"/>
          </a:avLst>
        </a:prstGeom>
        <a:solidFill>
          <a:schemeClr val="accent6">
            <a:lumMod val="60000"/>
            <a:lumOff val="4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t>On the system Lead Volunteer or Nights Away Approver approves or rejects the NAN</a:t>
          </a:r>
        </a:p>
      </dsp:txBody>
      <dsp:txXfrm>
        <a:off x="9177906" y="1091802"/>
        <a:ext cx="2044685" cy="239762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5611FB-706C-48E3-B717-C986C8B27438}">
      <dsp:nvSpPr>
        <dsp:cNvPr id="0" name=""/>
        <dsp:cNvSpPr/>
      </dsp:nvSpPr>
      <dsp:spPr>
        <a:xfrm rot="5400000">
          <a:off x="6014427" y="-3522449"/>
          <a:ext cx="1397000" cy="8796440"/>
        </a:xfrm>
        <a:prstGeom prst="round2Same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None/>
          </a:pPr>
          <a:r>
            <a:rPr lang="en-GB" sz="1600" b="1" kern="1200"/>
            <a:t>Self-Service</a:t>
          </a:r>
        </a:p>
        <a:p>
          <a:pPr marL="342900" lvl="2" indent="-171450" algn="l" defTabSz="711200">
            <a:lnSpc>
              <a:spcPct val="90000"/>
            </a:lnSpc>
            <a:spcBef>
              <a:spcPct val="0"/>
            </a:spcBef>
            <a:spcAft>
              <a:spcPct val="15000"/>
            </a:spcAft>
            <a:buChar char="•"/>
          </a:pPr>
          <a:r>
            <a:rPr lang="en-GB" sz="1600" kern="1200"/>
            <a:t>Webpages, User Guides, FAQs on website, local colleagues</a:t>
          </a:r>
        </a:p>
        <a:p>
          <a:pPr marL="171450" lvl="1" indent="-171450" algn="l" defTabSz="711200">
            <a:lnSpc>
              <a:spcPct val="90000"/>
            </a:lnSpc>
            <a:spcBef>
              <a:spcPct val="0"/>
            </a:spcBef>
            <a:spcAft>
              <a:spcPct val="15000"/>
            </a:spcAft>
            <a:buNone/>
          </a:pPr>
          <a:r>
            <a:rPr lang="en-GB" sz="1600" b="1" kern="1200"/>
            <a:t>District/County Support</a:t>
          </a:r>
        </a:p>
        <a:p>
          <a:pPr marL="342900" lvl="2" indent="-171450" algn="l" defTabSz="711200">
            <a:lnSpc>
              <a:spcPct val="90000"/>
            </a:lnSpc>
            <a:spcBef>
              <a:spcPct val="0"/>
            </a:spcBef>
            <a:spcAft>
              <a:spcPct val="15000"/>
            </a:spcAft>
            <a:buChar char="•"/>
          </a:pPr>
          <a:r>
            <a:rPr lang="en-GB" sz="1600" kern="1200"/>
            <a:t>Support for changes to scouting processes, basic troubleshooting, admin support etc.</a:t>
          </a:r>
        </a:p>
      </dsp:txBody>
      <dsp:txXfrm rot="-5400000">
        <a:off x="2314707" y="245467"/>
        <a:ext cx="8728244" cy="1260608"/>
      </dsp:txXfrm>
    </dsp:sp>
    <dsp:sp modelId="{83DE881F-2764-4144-97C1-E0710EF60861}">
      <dsp:nvSpPr>
        <dsp:cNvPr id="0" name=""/>
        <dsp:cNvSpPr/>
      </dsp:nvSpPr>
      <dsp:spPr>
        <a:xfrm>
          <a:off x="242138" y="2645"/>
          <a:ext cx="2072569" cy="174625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GB" sz="3000" kern="1200"/>
            <a:t>Local Support</a:t>
          </a:r>
        </a:p>
      </dsp:txBody>
      <dsp:txXfrm>
        <a:off x="327383" y="87890"/>
        <a:ext cx="1902079" cy="1575760"/>
      </dsp:txXfrm>
    </dsp:sp>
    <dsp:sp modelId="{9820B4A2-0F29-465D-9A8B-179780960506}">
      <dsp:nvSpPr>
        <dsp:cNvPr id="0" name=""/>
        <dsp:cNvSpPr/>
      </dsp:nvSpPr>
      <dsp:spPr>
        <a:xfrm rot="5400000">
          <a:off x="6024071" y="-1698530"/>
          <a:ext cx="1397000" cy="8815728"/>
        </a:xfrm>
        <a:prstGeom prst="round2SameRect">
          <a:avLst/>
        </a:prstGeom>
        <a:solidFill>
          <a:schemeClr val="accent2">
            <a:tint val="40000"/>
            <a:alpha val="90000"/>
            <a:hueOff val="2868891"/>
            <a:satOff val="18054"/>
            <a:lumOff val="1613"/>
            <a:alphaOff val="0"/>
          </a:schemeClr>
        </a:solidFill>
        <a:ln w="25400" cap="flat" cmpd="sng" algn="ctr">
          <a:solidFill>
            <a:schemeClr val="accent2">
              <a:tint val="40000"/>
              <a:alpha val="90000"/>
              <a:hueOff val="2868891"/>
              <a:satOff val="18054"/>
              <a:lumOff val="161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GB" sz="1600" kern="1200"/>
            <a:t>Queries from volunteers that aren’t answered via local support</a:t>
          </a:r>
        </a:p>
        <a:p>
          <a:pPr marL="171450" lvl="1" indent="-171450" algn="l" defTabSz="711200">
            <a:lnSpc>
              <a:spcPct val="90000"/>
            </a:lnSpc>
            <a:spcBef>
              <a:spcPct val="0"/>
            </a:spcBef>
            <a:spcAft>
              <a:spcPct val="15000"/>
            </a:spcAft>
            <a:buChar char="•"/>
          </a:pPr>
          <a:r>
            <a:rPr lang="en-GB" sz="1600" kern="1200"/>
            <a:t>Technical issues or bugs in digital systems</a:t>
          </a:r>
        </a:p>
      </dsp:txBody>
      <dsp:txXfrm rot="-5400000">
        <a:off x="2314707" y="2079030"/>
        <a:ext cx="8747532" cy="1260608"/>
      </dsp:txXfrm>
    </dsp:sp>
    <dsp:sp modelId="{C81301F5-FC0C-460A-88B8-9D0BCF4526FF}">
      <dsp:nvSpPr>
        <dsp:cNvPr id="0" name=""/>
        <dsp:cNvSpPr/>
      </dsp:nvSpPr>
      <dsp:spPr>
        <a:xfrm>
          <a:off x="242138" y="1836208"/>
          <a:ext cx="2072569" cy="1746250"/>
        </a:xfrm>
        <a:prstGeom prst="roundRect">
          <a:avLst/>
        </a:prstGeom>
        <a:solidFill>
          <a:schemeClr val="accent2">
            <a:hueOff val="2111614"/>
            <a:satOff val="17158"/>
            <a:lumOff val="196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GB" sz="3000" kern="1200"/>
            <a:t>Support Centre</a:t>
          </a:r>
        </a:p>
      </dsp:txBody>
      <dsp:txXfrm>
        <a:off x="327383" y="1921453"/>
        <a:ext cx="1902079" cy="1575760"/>
      </dsp:txXfrm>
    </dsp:sp>
    <dsp:sp modelId="{7DA66ED9-28A5-405D-B5BE-E73EA4A4F910}">
      <dsp:nvSpPr>
        <dsp:cNvPr id="0" name=""/>
        <dsp:cNvSpPr/>
      </dsp:nvSpPr>
      <dsp:spPr>
        <a:xfrm rot="5400000">
          <a:off x="6024071" y="135031"/>
          <a:ext cx="1397000" cy="8815728"/>
        </a:xfrm>
        <a:prstGeom prst="round2SameRect">
          <a:avLst/>
        </a:prstGeom>
        <a:solidFill>
          <a:schemeClr val="accent2">
            <a:tint val="40000"/>
            <a:alpha val="90000"/>
            <a:hueOff val="5737783"/>
            <a:satOff val="36107"/>
            <a:lumOff val="3226"/>
            <a:alphaOff val="0"/>
          </a:schemeClr>
        </a:solidFill>
        <a:ln w="25400" cap="flat" cmpd="sng" algn="ctr">
          <a:solidFill>
            <a:schemeClr val="accent2">
              <a:tint val="40000"/>
              <a:alpha val="90000"/>
              <a:hueOff val="5737783"/>
              <a:satOff val="36107"/>
              <a:lumOff val="322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GB" sz="1600" kern="1200"/>
            <a:t>Escalations from Support Centre</a:t>
          </a:r>
        </a:p>
        <a:p>
          <a:pPr marL="171450" lvl="1" indent="-171450" algn="l" defTabSz="711200">
            <a:lnSpc>
              <a:spcPct val="90000"/>
            </a:lnSpc>
            <a:spcBef>
              <a:spcPct val="0"/>
            </a:spcBef>
            <a:spcAft>
              <a:spcPct val="15000"/>
            </a:spcAft>
            <a:buChar char="•"/>
          </a:pPr>
          <a:r>
            <a:rPr lang="en-GB" sz="1600" kern="1200"/>
            <a:t>Project/Programme team or Change team</a:t>
          </a:r>
        </a:p>
        <a:p>
          <a:pPr marL="171450" lvl="1" indent="-171450" algn="l" defTabSz="711200">
            <a:lnSpc>
              <a:spcPct val="90000"/>
            </a:lnSpc>
            <a:spcBef>
              <a:spcPct val="0"/>
            </a:spcBef>
            <a:spcAft>
              <a:spcPct val="15000"/>
            </a:spcAft>
            <a:buChar char="•"/>
          </a:pPr>
          <a:r>
            <a:rPr lang="en-GB" sz="1600" kern="1200"/>
            <a:t>Internal technology team and our 3</a:t>
          </a:r>
          <a:r>
            <a:rPr lang="en-GB" sz="1600" kern="1200" baseline="30000"/>
            <a:t>rd</a:t>
          </a:r>
          <a:r>
            <a:rPr lang="en-GB" sz="1600" kern="1200"/>
            <a:t> party system providers</a:t>
          </a:r>
        </a:p>
        <a:p>
          <a:pPr marL="171450" lvl="1" indent="-171450" algn="l" defTabSz="711200">
            <a:lnSpc>
              <a:spcPct val="90000"/>
            </a:lnSpc>
            <a:spcBef>
              <a:spcPct val="0"/>
            </a:spcBef>
            <a:spcAft>
              <a:spcPct val="15000"/>
            </a:spcAft>
            <a:buChar char="•"/>
          </a:pPr>
          <a:r>
            <a:rPr lang="en-GB" sz="1600" kern="1200"/>
            <a:t>Resolve bugs and technical problems with system functionality</a:t>
          </a:r>
        </a:p>
      </dsp:txBody>
      <dsp:txXfrm rot="-5400000">
        <a:off x="2314707" y="3912591"/>
        <a:ext cx="8747532" cy="1260608"/>
      </dsp:txXfrm>
    </dsp:sp>
    <dsp:sp modelId="{0DECECC7-301E-4423-B8AD-310B4E105243}">
      <dsp:nvSpPr>
        <dsp:cNvPr id="0" name=""/>
        <dsp:cNvSpPr/>
      </dsp:nvSpPr>
      <dsp:spPr>
        <a:xfrm>
          <a:off x="242138" y="3669771"/>
          <a:ext cx="2072569" cy="1746250"/>
        </a:xfrm>
        <a:prstGeom prst="roundRect">
          <a:avLst/>
        </a:prstGeom>
        <a:solidFill>
          <a:schemeClr val="accent2">
            <a:hueOff val="4223228"/>
            <a:satOff val="34316"/>
            <a:lumOff val="392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GB" sz="3000" kern="1200"/>
            <a:t>Technical Support</a:t>
          </a:r>
        </a:p>
      </dsp:txBody>
      <dsp:txXfrm>
        <a:off x="327383" y="3755016"/>
        <a:ext cx="1902079" cy="1575760"/>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7043738" cy="458788"/>
          </a:xfrm>
          <a:prstGeom prst="rect">
            <a:avLst/>
          </a:prstGeom>
        </p:spPr>
        <p:txBody>
          <a:bodyPr vert="horz" lIns="91440" tIns="45720" rIns="91440" bIns="45720" rtlCol="0"/>
          <a:lstStyle>
            <a:lvl1pPr algn="l">
              <a:defRPr sz="1200">
                <a:latin typeface="Nunito Sans" panose="00000500000000000000" pitchFamily="2" charset="0"/>
              </a:defRPr>
            </a:lvl1pPr>
          </a:lstStyle>
          <a:p>
            <a:endParaRPr lang="en-GB"/>
          </a:p>
        </p:txBody>
      </p:sp>
      <p:sp>
        <p:nvSpPr>
          <p:cNvPr id="3" name="Date Placeholder 2"/>
          <p:cNvSpPr>
            <a:spLocks noGrp="1"/>
          </p:cNvSpPr>
          <p:nvPr>
            <p:ph type="dt" idx="1"/>
          </p:nvPr>
        </p:nvSpPr>
        <p:spPr>
          <a:xfrm>
            <a:off x="9207500" y="0"/>
            <a:ext cx="7045325" cy="458788"/>
          </a:xfrm>
          <a:prstGeom prst="rect">
            <a:avLst/>
          </a:prstGeom>
        </p:spPr>
        <p:txBody>
          <a:bodyPr vert="horz" lIns="91440" tIns="45720" rIns="91440" bIns="45720" rtlCol="0"/>
          <a:lstStyle>
            <a:lvl1pPr algn="r">
              <a:defRPr sz="1200">
                <a:latin typeface="Nunito Sans" panose="00000500000000000000" pitchFamily="2" charset="0"/>
              </a:defRPr>
            </a:lvl1pPr>
          </a:lstStyle>
          <a:p>
            <a:fld id="{255396BA-BA0B-E646-B112-BDB6D130FD61}" type="datetimeFigureOut">
              <a:rPr lang="en-GB" smtClean="0"/>
              <a:pPr/>
              <a:t>31/10/2023</a:t>
            </a:fld>
            <a:endParaRPr lang="en-GB"/>
          </a:p>
        </p:txBody>
      </p:sp>
      <p:sp>
        <p:nvSpPr>
          <p:cNvPr id="4" name="Slide Image Placeholder 3"/>
          <p:cNvSpPr>
            <a:spLocks noGrp="1" noRot="1" noChangeAspect="1"/>
          </p:cNvSpPr>
          <p:nvPr>
            <p:ph type="sldImg" idx="2"/>
          </p:nvPr>
        </p:nvSpPr>
        <p:spPr>
          <a:xfrm>
            <a:off x="5384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1625600" y="4400550"/>
            <a:ext cx="130048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7043738" cy="458787"/>
          </a:xfrm>
          <a:prstGeom prst="rect">
            <a:avLst/>
          </a:prstGeom>
        </p:spPr>
        <p:txBody>
          <a:bodyPr vert="horz" lIns="91440" tIns="45720" rIns="91440" bIns="45720" rtlCol="0" anchor="b"/>
          <a:lstStyle>
            <a:lvl1pPr algn="l">
              <a:defRPr sz="1200">
                <a:latin typeface="Nunito Sans" panose="00000500000000000000" pitchFamily="2" charset="0"/>
              </a:defRPr>
            </a:lvl1pPr>
          </a:lstStyle>
          <a:p>
            <a:endParaRPr lang="en-GB"/>
          </a:p>
        </p:txBody>
      </p:sp>
      <p:sp>
        <p:nvSpPr>
          <p:cNvPr id="7" name="Slide Number Placeholder 6"/>
          <p:cNvSpPr>
            <a:spLocks noGrp="1"/>
          </p:cNvSpPr>
          <p:nvPr>
            <p:ph type="sldNum" sz="quarter" idx="5"/>
          </p:nvPr>
        </p:nvSpPr>
        <p:spPr>
          <a:xfrm>
            <a:off x="9207500" y="8685213"/>
            <a:ext cx="7045325" cy="458787"/>
          </a:xfrm>
          <a:prstGeom prst="rect">
            <a:avLst/>
          </a:prstGeom>
        </p:spPr>
        <p:txBody>
          <a:bodyPr vert="horz" lIns="91440" tIns="45720" rIns="91440" bIns="45720" rtlCol="0" anchor="b"/>
          <a:lstStyle>
            <a:lvl1pPr algn="r">
              <a:defRPr sz="1200">
                <a:latin typeface="Nunito Sans" panose="00000500000000000000" pitchFamily="2" charset="0"/>
              </a:defRPr>
            </a:lvl1pPr>
          </a:lstStyle>
          <a:p>
            <a:fld id="{DC81CCE8-8669-844C-8A1E-83EDDE9464AC}" type="slidenum">
              <a:rPr lang="en-GB" smtClean="0"/>
              <a:pPr/>
              <a:t>‹#›</a:t>
            </a:fld>
            <a:endParaRPr lang="en-GB"/>
          </a:p>
        </p:txBody>
      </p:sp>
    </p:spTree>
    <p:extLst>
      <p:ext uri="{BB962C8B-B14F-4D97-AF65-F5344CB8AC3E}">
        <p14:creationId xmlns:p14="http://schemas.microsoft.com/office/powerpoint/2010/main" val="3616570182"/>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Nunito Sans" panose="00000500000000000000" pitchFamily="2" charset="0"/>
        <a:ea typeface="+mn-ea"/>
        <a:cs typeface="+mn-cs"/>
      </a:defRPr>
    </a:lvl1pPr>
    <a:lvl2pPr marL="342900" algn="l" defTabSz="685800" rtl="0" eaLnBrk="1" latinLnBrk="0" hangingPunct="1">
      <a:defRPr sz="900" kern="1200">
        <a:solidFill>
          <a:schemeClr val="tx1"/>
        </a:solidFill>
        <a:latin typeface="Nunito Sans" panose="00000500000000000000" pitchFamily="2" charset="0"/>
        <a:ea typeface="+mn-ea"/>
        <a:cs typeface="+mn-cs"/>
      </a:defRPr>
    </a:lvl2pPr>
    <a:lvl3pPr marL="685800" algn="l" defTabSz="685800" rtl="0" eaLnBrk="1" latinLnBrk="0" hangingPunct="1">
      <a:defRPr sz="900" kern="1200">
        <a:solidFill>
          <a:schemeClr val="tx1"/>
        </a:solidFill>
        <a:latin typeface="Nunito Sans" panose="00000500000000000000" pitchFamily="2" charset="0"/>
        <a:ea typeface="+mn-ea"/>
        <a:cs typeface="+mn-cs"/>
      </a:defRPr>
    </a:lvl3pPr>
    <a:lvl4pPr marL="1028700" algn="l" defTabSz="685800" rtl="0" eaLnBrk="1" latinLnBrk="0" hangingPunct="1">
      <a:defRPr sz="900" kern="1200">
        <a:solidFill>
          <a:schemeClr val="tx1"/>
        </a:solidFill>
        <a:latin typeface="Nunito Sans" panose="00000500000000000000" pitchFamily="2" charset="0"/>
        <a:ea typeface="+mn-ea"/>
        <a:cs typeface="+mn-cs"/>
      </a:defRPr>
    </a:lvl4pPr>
    <a:lvl5pPr marL="1371600" algn="l" defTabSz="685800" rtl="0" eaLnBrk="1" latinLnBrk="0" hangingPunct="1">
      <a:defRPr sz="900" kern="1200">
        <a:solidFill>
          <a:schemeClr val="tx1"/>
        </a:solidFill>
        <a:latin typeface="Nunito Sans" panose="00000500000000000000" pitchFamily="2" charset="0"/>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1</a:t>
            </a:fld>
            <a:endParaRPr lang="en-GB"/>
          </a:p>
        </p:txBody>
      </p:sp>
    </p:spTree>
    <p:extLst>
      <p:ext uri="{BB962C8B-B14F-4D97-AF65-F5344CB8AC3E}">
        <p14:creationId xmlns:p14="http://schemas.microsoft.com/office/powerpoint/2010/main" val="4462692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32904639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37141663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5795680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42754143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17</a:t>
            </a:fld>
            <a:endParaRPr lang="en-GB"/>
          </a:p>
        </p:txBody>
      </p:sp>
    </p:spTree>
    <p:extLst>
      <p:ext uri="{BB962C8B-B14F-4D97-AF65-F5344CB8AC3E}">
        <p14:creationId xmlns:p14="http://schemas.microsoft.com/office/powerpoint/2010/main" val="38023734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18</a:t>
            </a:fld>
            <a:endParaRPr lang="en-GB"/>
          </a:p>
        </p:txBody>
      </p:sp>
    </p:spTree>
    <p:extLst>
      <p:ext uri="{BB962C8B-B14F-4D97-AF65-F5344CB8AC3E}">
        <p14:creationId xmlns:p14="http://schemas.microsoft.com/office/powerpoint/2010/main" val="3084938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GB" sz="1800">
              <a:latin typeface="Times New Roman"/>
              <a:ea typeface="Calibri"/>
              <a:cs typeface="Times New Roman"/>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19</a:t>
            </a:fld>
            <a:endParaRPr lang="en-GB"/>
          </a:p>
        </p:txBody>
      </p:sp>
    </p:spTree>
    <p:extLst>
      <p:ext uri="{BB962C8B-B14F-4D97-AF65-F5344CB8AC3E}">
        <p14:creationId xmlns:p14="http://schemas.microsoft.com/office/powerpoint/2010/main" val="11986709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20</a:t>
            </a:fld>
            <a:endParaRPr lang="en-GB"/>
          </a:p>
        </p:txBody>
      </p:sp>
    </p:spTree>
    <p:extLst>
      <p:ext uri="{BB962C8B-B14F-4D97-AF65-F5344CB8AC3E}">
        <p14:creationId xmlns:p14="http://schemas.microsoft.com/office/powerpoint/2010/main" val="41728620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21</a:t>
            </a:fld>
            <a:endParaRPr lang="en-GB"/>
          </a:p>
        </p:txBody>
      </p:sp>
    </p:spTree>
    <p:extLst>
      <p:ext uri="{BB962C8B-B14F-4D97-AF65-F5344CB8AC3E}">
        <p14:creationId xmlns:p14="http://schemas.microsoft.com/office/powerpoint/2010/main" val="22612727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22</a:t>
            </a:fld>
            <a:endParaRPr lang="en-GB"/>
          </a:p>
        </p:txBody>
      </p:sp>
    </p:spTree>
    <p:extLst>
      <p:ext uri="{BB962C8B-B14F-4D97-AF65-F5344CB8AC3E}">
        <p14:creationId xmlns:p14="http://schemas.microsoft.com/office/powerpoint/2010/main" val="18038548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2</a:t>
            </a:fld>
            <a:endParaRPr lang="en-GB"/>
          </a:p>
        </p:txBody>
      </p:sp>
    </p:spTree>
    <p:extLst>
      <p:ext uri="{BB962C8B-B14F-4D97-AF65-F5344CB8AC3E}">
        <p14:creationId xmlns:p14="http://schemas.microsoft.com/office/powerpoint/2010/main" val="29963310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26760512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26</a:t>
            </a:fld>
            <a:endParaRPr lang="en-GB"/>
          </a:p>
        </p:txBody>
      </p:sp>
    </p:spTree>
    <p:extLst>
      <p:ext uri="{BB962C8B-B14F-4D97-AF65-F5344CB8AC3E}">
        <p14:creationId xmlns:p14="http://schemas.microsoft.com/office/powerpoint/2010/main" val="25173347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27</a:t>
            </a:fld>
            <a:endParaRPr lang="en-GB"/>
          </a:p>
        </p:txBody>
      </p:sp>
    </p:spTree>
    <p:extLst>
      <p:ext uri="{BB962C8B-B14F-4D97-AF65-F5344CB8AC3E}">
        <p14:creationId xmlns:p14="http://schemas.microsoft.com/office/powerpoint/2010/main" val="19251007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29</a:t>
            </a:fld>
            <a:endParaRPr lang="en-GB"/>
          </a:p>
        </p:txBody>
      </p:sp>
    </p:spTree>
    <p:extLst>
      <p:ext uri="{BB962C8B-B14F-4D97-AF65-F5344CB8AC3E}">
        <p14:creationId xmlns:p14="http://schemas.microsoft.com/office/powerpoint/2010/main" val="14260275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14239907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31</a:t>
            </a:fld>
            <a:endParaRPr lang="en-GB"/>
          </a:p>
        </p:txBody>
      </p:sp>
    </p:spTree>
    <p:extLst>
      <p:ext uri="{BB962C8B-B14F-4D97-AF65-F5344CB8AC3E}">
        <p14:creationId xmlns:p14="http://schemas.microsoft.com/office/powerpoint/2010/main" val="6701086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32</a:t>
            </a:fld>
            <a:endParaRPr lang="en-GB"/>
          </a:p>
        </p:txBody>
      </p:sp>
    </p:spTree>
    <p:extLst>
      <p:ext uri="{BB962C8B-B14F-4D97-AF65-F5344CB8AC3E}">
        <p14:creationId xmlns:p14="http://schemas.microsoft.com/office/powerpoint/2010/main" val="41371988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33705" indent="0">
              <a:spcBef>
                <a:spcPts val="600"/>
              </a:spcBef>
              <a:spcAft>
                <a:spcPts val="600"/>
              </a:spcAft>
              <a:buClr>
                <a:srgbClr val="7414DC"/>
              </a:buClr>
              <a:buSzPct val="125000"/>
              <a:buFont typeface="Arial" panose="020B0604020202020204" pitchFamily="34" charset="0"/>
              <a:buNone/>
            </a:pPr>
            <a:endParaRPr lang="en-GB" sz="1050"/>
          </a:p>
        </p:txBody>
      </p:sp>
      <p:sp>
        <p:nvSpPr>
          <p:cNvPr id="4" name="Slide Number Placeholder 3"/>
          <p:cNvSpPr>
            <a:spLocks noGrp="1"/>
          </p:cNvSpPr>
          <p:nvPr>
            <p:ph type="sldNum" sz="quarter" idx="5"/>
          </p:nvPr>
        </p:nvSpPr>
        <p:spPr/>
        <p:txBody>
          <a:bodyPr/>
          <a:lstStyle/>
          <a:p>
            <a:fld id="{DC81CCE8-8669-844C-8A1E-83EDDE9464AC}" type="slidenum">
              <a:rPr lang="en-GB" smtClean="0"/>
              <a:pPr/>
              <a:t>33</a:t>
            </a:fld>
            <a:endParaRPr lang="en-GB"/>
          </a:p>
        </p:txBody>
      </p:sp>
    </p:spTree>
    <p:extLst>
      <p:ext uri="{BB962C8B-B14F-4D97-AF65-F5344CB8AC3E}">
        <p14:creationId xmlns:p14="http://schemas.microsoft.com/office/powerpoint/2010/main" val="32105600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34</a:t>
            </a:fld>
            <a:endParaRPr lang="en-GB"/>
          </a:p>
        </p:txBody>
      </p:sp>
    </p:spTree>
    <p:extLst>
      <p:ext uri="{BB962C8B-B14F-4D97-AF65-F5344CB8AC3E}">
        <p14:creationId xmlns:p14="http://schemas.microsoft.com/office/powerpoint/2010/main" val="16893914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A4DA806A-0AB2-4936-99EF-3BDC7353D85A}" type="slidenum">
              <a:rPr lang="en-GB" smtClean="0"/>
              <a:t>35</a:t>
            </a:fld>
            <a:endParaRPr lang="en-GB"/>
          </a:p>
        </p:txBody>
      </p:sp>
    </p:spTree>
    <p:extLst>
      <p:ext uri="{BB962C8B-B14F-4D97-AF65-F5344CB8AC3E}">
        <p14:creationId xmlns:p14="http://schemas.microsoft.com/office/powerpoint/2010/main" val="24921515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800">
              <a:effectLst/>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20297359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C81CCE8-8669-844C-8A1E-83EDDE9464AC}" type="slidenum">
              <a:rPr lang="en-GB" smtClean="0"/>
              <a:pPr/>
              <a:t>36</a:t>
            </a:fld>
            <a:endParaRPr lang="en-GB"/>
          </a:p>
        </p:txBody>
      </p:sp>
    </p:spTree>
    <p:extLst>
      <p:ext uri="{BB962C8B-B14F-4D97-AF65-F5344CB8AC3E}">
        <p14:creationId xmlns:p14="http://schemas.microsoft.com/office/powerpoint/2010/main" val="7473327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406807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25781519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4999087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32859136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703564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5566933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1.xml"/><Relationship Id="rId6" Type="http://schemas.openxmlformats.org/officeDocument/2006/relationships/image" Target="../media/image18.png"/><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eg"/><Relationship Id="rId1" Type="http://schemas.openxmlformats.org/officeDocument/2006/relationships/slideMaster" Target="../slideMasters/slideMaster3.xml"/><Relationship Id="rId6" Type="http://schemas.openxmlformats.org/officeDocument/2006/relationships/image" Target="../media/image30.png"/><Relationship Id="rId5" Type="http://schemas.openxmlformats.org/officeDocument/2006/relationships/image" Target="../media/image12.jpg"/><Relationship Id="rId4" Type="http://schemas.openxmlformats.org/officeDocument/2006/relationships/image" Target="../media/image11.jpg"/></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3.xml"/><Relationship Id="rId6" Type="http://schemas.openxmlformats.org/officeDocument/2006/relationships/image" Target="../media/image31.png"/><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eg"/><Relationship Id="rId1" Type="http://schemas.openxmlformats.org/officeDocument/2006/relationships/slideMaster" Target="../slideMasters/slideMaster4.xml"/><Relationship Id="rId6" Type="http://schemas.openxmlformats.org/officeDocument/2006/relationships/image" Target="../media/image30.png"/><Relationship Id="rId5" Type="http://schemas.openxmlformats.org/officeDocument/2006/relationships/image" Target="../media/image12.jpg"/><Relationship Id="rId4" Type="http://schemas.openxmlformats.org/officeDocument/2006/relationships/image" Target="../media/image11.jpg"/></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4.xml"/><Relationship Id="rId6" Type="http://schemas.openxmlformats.org/officeDocument/2006/relationships/image" Target="../media/image31.png"/><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346.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32.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12.jpg"/><Relationship Id="rId4" Type="http://schemas.openxmlformats.org/officeDocument/2006/relationships/image" Target="../media/image11.jp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78869" y="1586678"/>
            <a:ext cx="4834262" cy="3530562"/>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t>18/02/2018</a:t>
            </a:r>
            <a:endParaRPr lang="mr-IN"/>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34504" y="5454243"/>
            <a:ext cx="3695984" cy="1042284"/>
          </a:xfrm>
          <a:prstGeom prst="rect">
            <a:avLst/>
          </a:prstGeom>
        </p:spPr>
      </p:pic>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94F44C7-F913-747C-CC1F-29A512CF50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68545565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bk object 16">
            <a:extLst>
              <a:ext uri="{FF2B5EF4-FFF2-40B4-BE49-F238E27FC236}">
                <a16:creationId xmlns:a16="http://schemas.microsoft.com/office/drawing/2014/main" id="{ABC8B010-0BF7-170A-306A-AE0E8BBBAF30}"/>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985458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descr="A picture containing text, clipart&#10;&#10;Description automatically generated">
            <a:extLst>
              <a:ext uri="{FF2B5EF4-FFF2-40B4-BE49-F238E27FC236}">
                <a16:creationId xmlns:a16="http://schemas.microsoft.com/office/drawing/2014/main" id="{A8DD76FE-99CC-21D1-31B3-9BD8058CF4E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69608894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F52E34B-502E-D3C3-6197-80AB05CA210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16245185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61CE8824-540D-DFBA-31D3-900593369C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426541739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4" name="Picture 3" descr="A picture containing text, clipart&#10;&#10;Description automatically generated">
            <a:extLst>
              <a:ext uri="{FF2B5EF4-FFF2-40B4-BE49-F238E27FC236}">
                <a16:creationId xmlns:a16="http://schemas.microsoft.com/office/drawing/2014/main" id="{527B2328-A2F8-BF70-040E-6FE14398A0B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84943317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sp>
        <p:nvSpPr>
          <p:cNvPr id="4" name="bk object 16">
            <a:extLst>
              <a:ext uri="{FF2B5EF4-FFF2-40B4-BE49-F238E27FC236}">
                <a16:creationId xmlns:a16="http://schemas.microsoft.com/office/drawing/2014/main" id="{7C4633AF-C8C5-975A-1DC2-0BF423A76DF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050095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 name="bk object 16">
            <a:extLst>
              <a:ext uri="{FF2B5EF4-FFF2-40B4-BE49-F238E27FC236}">
                <a16:creationId xmlns:a16="http://schemas.microsoft.com/office/drawing/2014/main" id="{07D06058-67AE-0C33-827D-D4CEB61ABED4}"/>
              </a:ext>
            </a:extLst>
          </p:cNvPr>
          <p:cNvSpPr/>
          <p:nvPr userDrawn="1"/>
        </p:nvSpPr>
        <p:spPr>
          <a:xfrm>
            <a:off x="10084689" y="360617"/>
            <a:ext cx="1745932" cy="492061"/>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4762943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 name="bk object 16">
            <a:extLst>
              <a:ext uri="{FF2B5EF4-FFF2-40B4-BE49-F238E27FC236}">
                <a16:creationId xmlns:a16="http://schemas.microsoft.com/office/drawing/2014/main" id="{6DF035AD-312B-6056-E925-E62F9BE2678E}"/>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5287338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6942904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90606269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07818590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00763308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54508712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2574168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6663376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103040203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340510030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26972553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348989620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19416803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81708701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342277942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49929022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94019943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70783827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6854556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854589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608894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116245185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426541739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28494331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2" name="Picture 3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44770663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40500952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pic>
        <p:nvPicPr>
          <p:cNvPr id="36" name="Picture 3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104762943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4528733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47676670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Blank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Tree>
    <p:extLst>
      <p:ext uri="{BB962C8B-B14F-4D97-AF65-F5344CB8AC3E}">
        <p14:creationId xmlns:p14="http://schemas.microsoft.com/office/powerpoint/2010/main" val="108574178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Blank whi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Tree>
    <p:extLst>
      <p:ext uri="{BB962C8B-B14F-4D97-AF65-F5344CB8AC3E}">
        <p14:creationId xmlns:p14="http://schemas.microsoft.com/office/powerpoint/2010/main" val="370853880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0/31/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extLst>
      <p:ext uri="{BB962C8B-B14F-4D97-AF65-F5344CB8AC3E}">
        <p14:creationId xmlns:p14="http://schemas.microsoft.com/office/powerpoint/2010/main" val="294466192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0/31/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
        <p:nvSpPr>
          <p:cNvPr id="5" name="bk object 16">
            <a:extLst>
              <a:ext uri="{FF2B5EF4-FFF2-40B4-BE49-F238E27FC236}">
                <a16:creationId xmlns:a16="http://schemas.microsoft.com/office/drawing/2014/main" id="{9973E9CF-844F-FFF6-A27C-71FF428B66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294466192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0/31/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extLst>
      <p:ext uri="{BB962C8B-B14F-4D97-AF65-F5344CB8AC3E}">
        <p14:creationId xmlns:p14="http://schemas.microsoft.com/office/powerpoint/2010/main" val="294466192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900B93-D5A9-C64C-B9E3-99F0DE57CF26}"/>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1925826E-1172-9040-B965-877B3DAB4DFB}"/>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19FCB17-8BA5-D243-ABFF-5AD120C4A2C3}"/>
              </a:ext>
            </a:extLst>
          </p:cNvPr>
          <p:cNvSpPr>
            <a:spLocks noGrp="1"/>
          </p:cNvSpPr>
          <p:nvPr>
            <p:ph type="dt" sz="half" idx="10"/>
          </p:nvPr>
        </p:nvSpPr>
        <p:spPr/>
        <p:txBody>
          <a:bodyPr/>
          <a:lstStyle/>
          <a:p>
            <a:fld id="{A45B43EB-0F14-8440-952E-EC24169DF45A}" type="datetimeFigureOut">
              <a:rPr lang="en-US" smtClean="0">
                <a:solidFill>
                  <a:prstClr val="black">
                    <a:tint val="75000"/>
                  </a:prstClr>
                </a:solidFill>
              </a:rPr>
              <a:pPr/>
              <a:t>10/31/2023</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8DB9A1EF-0CBD-5246-A34E-CF7D2486DA0D}"/>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23EC30AC-82E2-F74F-872A-AA11E96816F0}"/>
              </a:ext>
            </a:extLst>
          </p:cNvPr>
          <p:cNvSpPr>
            <a:spLocks noGrp="1"/>
          </p:cNvSpPr>
          <p:nvPr>
            <p:ph type="sldNum" sz="quarter" idx="12"/>
          </p:nvPr>
        </p:nvSpPr>
        <p:spPr/>
        <p:txBody>
          <a:bodyPr/>
          <a:lstStyle/>
          <a:p>
            <a:fld id="{B41D449C-94DD-4940-9A2C-8439EE4FA5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828339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80558827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752409" y="3957565"/>
            <a:ext cx="8687181" cy="623248"/>
          </a:xfrm>
          <a:prstGeom prst="rect">
            <a:avLst/>
          </a:prstGeom>
        </p:spPr>
        <p:txBody>
          <a:bodyPr wrap="square" lIns="0" tIns="0" rIns="0" bIns="0">
            <a:spAutoFit/>
          </a:bodyPr>
          <a:lstStyle>
            <a:lvl1pPr>
              <a:defRPr sz="4050" b="1" i="0">
                <a:solidFill>
                  <a:schemeClr val="bg1"/>
                </a:solidFill>
                <a:latin typeface="Nunito Sans Black"/>
                <a:cs typeface="Nunito Sans Black"/>
              </a:defRPr>
            </a:lvl1pPr>
          </a:lstStyle>
          <a:p>
            <a:endParaRPr/>
          </a:p>
        </p:txBody>
      </p:sp>
      <p:sp>
        <p:nvSpPr>
          <p:cNvPr id="3" name="Holder 3"/>
          <p:cNvSpPr>
            <a:spLocks noGrp="1"/>
          </p:cNvSpPr>
          <p:nvPr>
            <p:ph type="subTitle" idx="4"/>
          </p:nvPr>
        </p:nvSpPr>
        <p:spPr>
          <a:xfrm>
            <a:off x="1752409" y="3957565"/>
            <a:ext cx="8687181" cy="623248"/>
          </a:xfrm>
          <a:prstGeom prst="rect">
            <a:avLst/>
          </a:prstGeom>
        </p:spPr>
        <p:txBody>
          <a:bodyPr wrap="square" lIns="0" tIns="0" rIns="0" bIns="0">
            <a:spAutoFit/>
          </a:bodyPr>
          <a:lstStyle>
            <a:lvl1pPr>
              <a:defRPr sz="4050" b="1" i="0">
                <a:solidFill>
                  <a:schemeClr val="bg1"/>
                </a:solidFill>
                <a:latin typeface="Nunito Sans Black"/>
                <a:cs typeface="Nunito Sans Black"/>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D4A12C18-D1A5-40F6-9266-72CAC6BCF757}" type="datetime1">
              <a:rPr lang="en-US" smtClean="0"/>
              <a:t>10/31/2023</a:t>
            </a:fld>
            <a:endParaRPr lang="en-US"/>
          </a:p>
        </p:txBody>
      </p:sp>
      <p:sp>
        <p:nvSpPr>
          <p:cNvPr id="6" name="Holder 6"/>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type="body" idx="1"/>
          </p:nvPr>
        </p:nvSpPr>
        <p:spPr>
          <a:xfrm>
            <a:off x="520445" y="1816608"/>
            <a:ext cx="11151108" cy="461665"/>
          </a:xfrm>
        </p:spPr>
        <p:txBody>
          <a:bodyPr lIns="0" tIns="0" rIns="0" bIns="0"/>
          <a:lstStyle>
            <a:lvl1pPr>
              <a:defRPr sz="3000" b="0" i="0">
                <a:solidFill>
                  <a:schemeClr val="tx1"/>
                </a:solidFill>
                <a:latin typeface="Nunito Sans"/>
                <a:cs typeface="Nunito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617DE3A3-D4CB-4798-ACCC-E025244C8A4C}" type="datetime1">
              <a:rPr lang="en-US" smtClean="0"/>
              <a:t>10/31/2023</a:t>
            </a:fld>
            <a:endParaRPr lang="en-US"/>
          </a:p>
        </p:txBody>
      </p:sp>
      <p:sp>
        <p:nvSpPr>
          <p:cNvPr id="6" name="Holder 6"/>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sz="half" idx="2"/>
          </p:nvPr>
        </p:nvSpPr>
        <p:spPr>
          <a:xfrm>
            <a:off x="609600" y="1577340"/>
            <a:ext cx="5303520" cy="615553"/>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615553"/>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EF8142BD-2B4D-4946-91EB-FC31221DFEE5}" type="datetime1">
              <a:rPr lang="en-US" smtClean="0"/>
              <a:t>10/31/2023</a:t>
            </a:fld>
            <a:endParaRPr lang="en-US"/>
          </a:p>
        </p:txBody>
      </p:sp>
      <p:sp>
        <p:nvSpPr>
          <p:cNvPr id="7" name="Holder 7"/>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type="body" idx="1"/>
          </p:nvPr>
        </p:nvSpPr>
        <p:spPr>
          <a:xfrm>
            <a:off x="520445" y="1816608"/>
            <a:ext cx="11151108" cy="461665"/>
          </a:xfrm>
        </p:spPr>
        <p:txBody>
          <a:bodyPr lIns="0" tIns="0" rIns="0" bIns="0"/>
          <a:lstStyle>
            <a:lvl1pPr>
              <a:defRPr sz="3000" b="0" i="0">
                <a:solidFill>
                  <a:schemeClr val="tx1"/>
                </a:solidFill>
                <a:latin typeface="Nunito Sans"/>
                <a:cs typeface="Nunito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617DE3A3-D4CB-4798-ACCC-E025244C8A4C}" type="datetime1">
              <a:rPr lang="en-US" smtClean="0"/>
              <a:t>10/31/2023</a:t>
            </a:fld>
            <a:endParaRPr lang="en-US"/>
          </a:p>
        </p:txBody>
      </p:sp>
      <p:sp>
        <p:nvSpPr>
          <p:cNvPr id="6" name="Holder 6"/>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
        <p:nvSpPr>
          <p:cNvPr id="7" name="bk object 16">
            <a:extLst>
              <a:ext uri="{FF2B5EF4-FFF2-40B4-BE49-F238E27FC236}">
                <a16:creationId xmlns:a16="http://schemas.microsoft.com/office/drawing/2014/main" id="{BC598312-155A-8F4D-D38B-61C2D4D8E668}"/>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sz="half" idx="2"/>
          </p:nvPr>
        </p:nvSpPr>
        <p:spPr>
          <a:xfrm>
            <a:off x="609600" y="1577340"/>
            <a:ext cx="5303520" cy="615553"/>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615553"/>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EF8142BD-2B4D-4946-91EB-FC31221DFEE5}" type="datetime1">
              <a:rPr lang="en-US" smtClean="0"/>
              <a:t>10/31/2023</a:t>
            </a:fld>
            <a:endParaRPr lang="en-US"/>
          </a:p>
        </p:txBody>
      </p:sp>
      <p:sp>
        <p:nvSpPr>
          <p:cNvPr id="7" name="Holder 7"/>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
        <p:nvSpPr>
          <p:cNvPr id="8" name="bk object 16">
            <a:extLst>
              <a:ext uri="{FF2B5EF4-FFF2-40B4-BE49-F238E27FC236}">
                <a16:creationId xmlns:a16="http://schemas.microsoft.com/office/drawing/2014/main" id="{F3ADF8A0-C8A8-641C-1A98-6279B267A6FF}"/>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type="body" idx="1"/>
          </p:nvPr>
        </p:nvSpPr>
        <p:spPr>
          <a:xfrm>
            <a:off x="520445" y="1816608"/>
            <a:ext cx="11151108" cy="461665"/>
          </a:xfrm>
        </p:spPr>
        <p:txBody>
          <a:bodyPr lIns="0" tIns="0" rIns="0" bIns="0"/>
          <a:lstStyle>
            <a:lvl1pPr>
              <a:defRPr sz="3000" b="0" i="0">
                <a:solidFill>
                  <a:schemeClr val="tx1"/>
                </a:solidFill>
                <a:latin typeface="Nunito Sans"/>
                <a:cs typeface="Nunito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617DE3A3-D4CB-4798-ACCC-E025244C8A4C}" type="datetime1">
              <a:rPr lang="en-US" smtClean="0"/>
              <a:t>10/31/2023</a:t>
            </a:fld>
            <a:endParaRPr lang="en-US"/>
          </a:p>
        </p:txBody>
      </p:sp>
      <p:sp>
        <p:nvSpPr>
          <p:cNvPr id="6" name="Holder 6"/>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sz="half" idx="2"/>
          </p:nvPr>
        </p:nvSpPr>
        <p:spPr>
          <a:xfrm>
            <a:off x="609600" y="1577340"/>
            <a:ext cx="5303520" cy="615553"/>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615553"/>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EF8142BD-2B4D-4946-91EB-FC31221DFEE5}" type="datetime1">
              <a:rPr lang="en-US" smtClean="0"/>
              <a:t>10/31/2023</a:t>
            </a:fld>
            <a:endParaRPr lang="en-US"/>
          </a:p>
        </p:txBody>
      </p:sp>
      <p:sp>
        <p:nvSpPr>
          <p:cNvPr id="7" name="Holder 7"/>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8000"/>
          </a:xfrm>
          <a:custGeom>
            <a:avLst/>
            <a:gdLst/>
            <a:ahLst/>
            <a:cxnLst/>
            <a:rect l="l" t="t" r="r" b="b"/>
            <a:pathLst>
              <a:path w="16256000" h="9144000">
                <a:moveTo>
                  <a:pt x="0" y="9144000"/>
                </a:moveTo>
                <a:lnTo>
                  <a:pt x="16255746" y="9144000"/>
                </a:lnTo>
                <a:lnTo>
                  <a:pt x="16255746" y="0"/>
                </a:lnTo>
                <a:lnTo>
                  <a:pt x="0" y="0"/>
                </a:lnTo>
                <a:lnTo>
                  <a:pt x="0" y="9144000"/>
                </a:lnTo>
                <a:close/>
              </a:path>
            </a:pathLst>
          </a:custGeom>
          <a:solidFill>
            <a:srgbClr val="7413DC"/>
          </a:solidFill>
        </p:spPr>
        <p:txBody>
          <a:bodyPr wrap="square" lIns="0" tIns="0" rIns="0" bIns="0" rtlCol="0"/>
          <a:lstStyle/>
          <a:p>
            <a:endParaRPr sz="1050"/>
          </a:p>
        </p:txBody>
      </p:sp>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EFFFA35D-27D3-4C44-A44C-B71912A4B12C}" type="datetime1">
              <a:rPr lang="en-US" smtClean="0"/>
              <a:t>10/31/2023</a:t>
            </a:fld>
            <a:endParaRPr lang="en-US"/>
          </a:p>
        </p:txBody>
      </p:sp>
      <p:sp>
        <p:nvSpPr>
          <p:cNvPr id="5" name="Holder 5"/>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0/31/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0/31/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
        <p:nvSpPr>
          <p:cNvPr id="5" name="bk object 16">
            <a:extLst>
              <a:ext uri="{FF2B5EF4-FFF2-40B4-BE49-F238E27FC236}">
                <a16:creationId xmlns:a16="http://schemas.microsoft.com/office/drawing/2014/main" id="{3105CBA8-6BE2-F8B0-6DDA-EB0E5BFB086C}"/>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31452437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0/31/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6" y="41859"/>
            <a:ext cx="5750325" cy="492443"/>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6" y="534301"/>
            <a:ext cx="5750325" cy="207749"/>
          </a:xfrm>
          <a:prstGeom prst="rect">
            <a:avLst/>
          </a:prstGeom>
        </p:spPr>
        <p:txBody>
          <a:bodyPr wrap="square" lIns="0" tIns="0" rIns="0" bIns="0" anchor="t">
            <a:spAutoFit/>
          </a:bodyPr>
          <a:lstStyle>
            <a:lvl1pPr>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783"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5527041" y="8503920"/>
            <a:ext cx="5201920"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a:xfrm>
            <a:off x="609600" y="6377941"/>
            <a:ext cx="2804160" cy="215444"/>
          </a:xfrm>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a:xfrm>
            <a:off x="14522857" y="8691423"/>
            <a:ext cx="831215"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49">
              <a:spcBef>
                <a:spcPts val="83"/>
              </a:spcBef>
            </a:pPr>
            <a:fld id="{81D60167-4931-47E6-BA6A-407CBD079E47}" type="slidenum">
              <a:rPr lang="uk-UA" spc="26" smtClean="0">
                <a:solidFill>
                  <a:srgbClr val="FFFFFF"/>
                </a:solidFill>
              </a:rPr>
              <a:pPr marL="19049">
                <a:spcBef>
                  <a:spcPts val="83"/>
                </a:spcBef>
              </a:pPr>
              <a:t>‹#›</a:t>
            </a:fld>
            <a:endParaRPr lang="uk-UA" spc="26">
              <a:solidFill>
                <a:srgbClr val="FFFFFF"/>
              </a:solidFill>
            </a:endParaRPr>
          </a:p>
        </p:txBody>
      </p:sp>
      <p:grpSp>
        <p:nvGrpSpPr>
          <p:cNvPr id="20" name="Group 19">
            <a:extLst>
              <a:ext uri="{FF2B5EF4-FFF2-40B4-BE49-F238E27FC236}">
                <a16:creationId xmlns:a16="http://schemas.microsoft.com/office/drawing/2014/main" id="{0A31EF12-2A4A-2A4F-A864-E57F1522B63E}"/>
              </a:ext>
            </a:extLst>
          </p:cNvPr>
          <p:cNvGrpSpPr/>
          <p:nvPr userDrawn="1"/>
        </p:nvGrpSpPr>
        <p:grpSpPr>
          <a:xfrm>
            <a:off x="4206002" y="1581153"/>
            <a:ext cx="3787619" cy="2765276"/>
            <a:chOff x="1243080" y="996480"/>
            <a:chExt cx="7627680" cy="5568840"/>
          </a:xfrm>
          <a:solidFill>
            <a:schemeClr val="bg1"/>
          </a:solidFill>
        </p:grpSpPr>
        <p:sp>
          <p:nvSpPr>
            <p:cNvPr id="21" name="Freeform 1">
              <a:extLst>
                <a:ext uri="{FF2B5EF4-FFF2-40B4-BE49-F238E27FC236}">
                  <a16:creationId xmlns:a16="http://schemas.microsoft.com/office/drawing/2014/main" id="{DEB88F54-A389-4C45-A9A2-FF7AFC03E9E4}"/>
                </a:ext>
              </a:extLst>
            </p:cNvPr>
            <p:cNvSpPr/>
            <p:nvPr/>
          </p:nvSpPr>
          <p:spPr>
            <a:xfrm>
              <a:off x="1243080" y="4809960"/>
              <a:ext cx="1350360" cy="1744200"/>
            </a:xfrm>
            <a:custGeom>
              <a:avLst/>
              <a:gdLst/>
              <a:ahLst/>
              <a:cxnLst/>
              <a:rect l="0" t="0" r="r" b="b"/>
              <a:pathLst>
                <a:path w="3751" h="4845">
                  <a:moveTo>
                    <a:pt x="0" y="4094"/>
                  </a:moveTo>
                  <a:lnTo>
                    <a:pt x="0" y="4094"/>
                  </a:lnTo>
                  <a:cubicBezTo>
                    <a:pt x="625" y="3375"/>
                    <a:pt x="625" y="3375"/>
                    <a:pt x="625" y="3375"/>
                  </a:cubicBezTo>
                  <a:cubicBezTo>
                    <a:pt x="1063" y="3719"/>
                    <a:pt x="1500" y="3937"/>
                    <a:pt x="2032" y="3937"/>
                  </a:cubicBezTo>
                  <a:cubicBezTo>
                    <a:pt x="2469" y="3937"/>
                    <a:pt x="2719" y="3781"/>
                    <a:pt x="2719" y="3500"/>
                  </a:cubicBezTo>
                  <a:cubicBezTo>
                    <a:pt x="2719" y="3469"/>
                    <a:pt x="2719" y="3469"/>
                    <a:pt x="2719" y="3469"/>
                  </a:cubicBezTo>
                  <a:cubicBezTo>
                    <a:pt x="2719" y="3219"/>
                    <a:pt x="2563" y="3094"/>
                    <a:pt x="1782" y="2875"/>
                  </a:cubicBezTo>
                  <a:cubicBezTo>
                    <a:pt x="813" y="2625"/>
                    <a:pt x="188" y="2375"/>
                    <a:pt x="188" y="1437"/>
                  </a:cubicBezTo>
                  <a:cubicBezTo>
                    <a:pt x="188" y="1406"/>
                    <a:pt x="188" y="1406"/>
                    <a:pt x="188" y="1406"/>
                  </a:cubicBezTo>
                  <a:cubicBezTo>
                    <a:pt x="188" y="562"/>
                    <a:pt x="875" y="0"/>
                    <a:pt x="1844" y="0"/>
                  </a:cubicBezTo>
                  <a:cubicBezTo>
                    <a:pt x="2532" y="0"/>
                    <a:pt x="3125" y="219"/>
                    <a:pt x="3594" y="594"/>
                  </a:cubicBezTo>
                  <a:cubicBezTo>
                    <a:pt x="3063" y="1375"/>
                    <a:pt x="3063" y="1375"/>
                    <a:pt x="3063" y="1375"/>
                  </a:cubicBezTo>
                  <a:cubicBezTo>
                    <a:pt x="2656" y="1094"/>
                    <a:pt x="2250" y="906"/>
                    <a:pt x="1844" y="906"/>
                  </a:cubicBezTo>
                  <a:cubicBezTo>
                    <a:pt x="1438" y="906"/>
                    <a:pt x="1219" y="1094"/>
                    <a:pt x="1219" y="1312"/>
                  </a:cubicBezTo>
                  <a:cubicBezTo>
                    <a:pt x="1219" y="1344"/>
                    <a:pt x="1219" y="1344"/>
                    <a:pt x="1219" y="1344"/>
                  </a:cubicBezTo>
                  <a:cubicBezTo>
                    <a:pt x="1219" y="1656"/>
                    <a:pt x="1438" y="1750"/>
                    <a:pt x="2250" y="1969"/>
                  </a:cubicBezTo>
                  <a:cubicBezTo>
                    <a:pt x="3219" y="2219"/>
                    <a:pt x="3750" y="2562"/>
                    <a:pt x="3750" y="3375"/>
                  </a:cubicBezTo>
                  <a:lnTo>
                    <a:pt x="3750" y="3375"/>
                  </a:lnTo>
                  <a:cubicBezTo>
                    <a:pt x="3750" y="4312"/>
                    <a:pt x="3031" y="4844"/>
                    <a:pt x="2032" y="4844"/>
                  </a:cubicBezTo>
                  <a:cubicBezTo>
                    <a:pt x="1313" y="4844"/>
                    <a:pt x="563" y="4594"/>
                    <a:pt x="0" y="4094"/>
                  </a:cubicBezTo>
                </a:path>
              </a:pathLst>
            </a:custGeom>
            <a:grpFill/>
            <a:ln>
              <a:noFill/>
            </a:ln>
          </p:spPr>
        </p:sp>
        <p:sp>
          <p:nvSpPr>
            <p:cNvPr id="22" name="Freeform 2">
              <a:extLst>
                <a:ext uri="{FF2B5EF4-FFF2-40B4-BE49-F238E27FC236}">
                  <a16:creationId xmlns:a16="http://schemas.microsoft.com/office/drawing/2014/main" id="{6D1F7898-22B2-9145-9E39-DD14DEFDB648}"/>
                </a:ext>
              </a:extLst>
            </p:cNvPr>
            <p:cNvSpPr/>
            <p:nvPr/>
          </p:nvSpPr>
          <p:spPr>
            <a:xfrm>
              <a:off x="2728080" y="5203800"/>
              <a:ext cx="1215360" cy="1361520"/>
            </a:xfrm>
            <a:custGeom>
              <a:avLst/>
              <a:gdLst/>
              <a:ahLst/>
              <a:cxnLst/>
              <a:rect l="0" t="0" r="r" b="b"/>
              <a:pathLst>
                <a:path w="3376" h="3782">
                  <a:moveTo>
                    <a:pt x="0" y="1906"/>
                  </a:moveTo>
                  <a:lnTo>
                    <a:pt x="0" y="1906"/>
                  </a:lnTo>
                  <a:cubicBezTo>
                    <a:pt x="0" y="1875"/>
                    <a:pt x="0" y="1875"/>
                    <a:pt x="0" y="1875"/>
                  </a:cubicBezTo>
                  <a:cubicBezTo>
                    <a:pt x="0" y="843"/>
                    <a:pt x="813" y="0"/>
                    <a:pt x="1907" y="0"/>
                  </a:cubicBezTo>
                  <a:cubicBezTo>
                    <a:pt x="2594" y="0"/>
                    <a:pt x="3032" y="250"/>
                    <a:pt x="3344" y="625"/>
                  </a:cubicBezTo>
                  <a:cubicBezTo>
                    <a:pt x="2719" y="1281"/>
                    <a:pt x="2719" y="1281"/>
                    <a:pt x="2719" y="1281"/>
                  </a:cubicBezTo>
                  <a:cubicBezTo>
                    <a:pt x="2500" y="1031"/>
                    <a:pt x="2282" y="906"/>
                    <a:pt x="1907" y="906"/>
                  </a:cubicBezTo>
                  <a:cubicBezTo>
                    <a:pt x="1407" y="906"/>
                    <a:pt x="1032" y="1343"/>
                    <a:pt x="1032" y="1875"/>
                  </a:cubicBezTo>
                  <a:lnTo>
                    <a:pt x="1032" y="1875"/>
                  </a:lnTo>
                  <a:cubicBezTo>
                    <a:pt x="1032" y="2437"/>
                    <a:pt x="1375" y="2875"/>
                    <a:pt x="1938" y="2875"/>
                  </a:cubicBezTo>
                  <a:cubicBezTo>
                    <a:pt x="2282" y="2875"/>
                    <a:pt x="2532" y="2750"/>
                    <a:pt x="2782" y="2500"/>
                  </a:cubicBezTo>
                  <a:cubicBezTo>
                    <a:pt x="3375" y="3125"/>
                    <a:pt x="3375" y="3125"/>
                    <a:pt x="3375" y="3125"/>
                  </a:cubicBezTo>
                  <a:cubicBezTo>
                    <a:pt x="3032" y="3500"/>
                    <a:pt x="2625" y="3781"/>
                    <a:pt x="1907" y="3781"/>
                  </a:cubicBezTo>
                  <a:cubicBezTo>
                    <a:pt x="813" y="3781"/>
                    <a:pt x="0" y="2937"/>
                    <a:pt x="0" y="1906"/>
                  </a:cubicBezTo>
                </a:path>
              </a:pathLst>
            </a:custGeom>
            <a:grpFill/>
            <a:ln>
              <a:noFill/>
            </a:ln>
          </p:spPr>
        </p:sp>
        <p:sp>
          <p:nvSpPr>
            <p:cNvPr id="23" name="Freeform 3">
              <a:extLst>
                <a:ext uri="{FF2B5EF4-FFF2-40B4-BE49-F238E27FC236}">
                  <a16:creationId xmlns:a16="http://schemas.microsoft.com/office/drawing/2014/main" id="{6960CF06-76DC-0746-BE5A-1FA0408F5325}"/>
                </a:ext>
              </a:extLst>
            </p:cNvPr>
            <p:cNvSpPr/>
            <p:nvPr/>
          </p:nvSpPr>
          <p:spPr>
            <a:xfrm>
              <a:off x="4010760" y="5203800"/>
              <a:ext cx="1417320" cy="1361520"/>
            </a:xfrm>
            <a:custGeom>
              <a:avLst/>
              <a:gdLst/>
              <a:ahLst/>
              <a:cxnLst/>
              <a:rect l="0" t="0" r="r" b="b"/>
              <a:pathLst>
                <a:path w="3937" h="3782">
                  <a:moveTo>
                    <a:pt x="0" y="1906"/>
                  </a:moveTo>
                  <a:lnTo>
                    <a:pt x="0" y="1906"/>
                  </a:lnTo>
                  <a:cubicBezTo>
                    <a:pt x="0" y="1875"/>
                    <a:pt x="0" y="1875"/>
                    <a:pt x="0" y="1875"/>
                  </a:cubicBezTo>
                  <a:cubicBezTo>
                    <a:pt x="0" y="843"/>
                    <a:pt x="844" y="0"/>
                    <a:pt x="1969" y="0"/>
                  </a:cubicBezTo>
                  <a:cubicBezTo>
                    <a:pt x="3093" y="0"/>
                    <a:pt x="3936" y="843"/>
                    <a:pt x="3936" y="1875"/>
                  </a:cubicBezTo>
                  <a:lnTo>
                    <a:pt x="3936" y="1875"/>
                  </a:lnTo>
                  <a:cubicBezTo>
                    <a:pt x="3936" y="2937"/>
                    <a:pt x="3093" y="3781"/>
                    <a:pt x="1969" y="3781"/>
                  </a:cubicBezTo>
                  <a:cubicBezTo>
                    <a:pt x="844" y="3781"/>
                    <a:pt x="0" y="2937"/>
                    <a:pt x="0" y="1906"/>
                  </a:cubicBezTo>
                  <a:moveTo>
                    <a:pt x="2906" y="1906"/>
                  </a:moveTo>
                  <a:lnTo>
                    <a:pt x="2906" y="1906"/>
                  </a:lnTo>
                  <a:cubicBezTo>
                    <a:pt x="2906" y="1875"/>
                    <a:pt x="2906" y="1875"/>
                    <a:pt x="2906" y="1875"/>
                  </a:cubicBezTo>
                  <a:cubicBezTo>
                    <a:pt x="2906" y="1343"/>
                    <a:pt x="2531" y="906"/>
                    <a:pt x="1969" y="906"/>
                  </a:cubicBezTo>
                  <a:cubicBezTo>
                    <a:pt x="1375" y="906"/>
                    <a:pt x="1031" y="1343"/>
                    <a:pt x="1031" y="1875"/>
                  </a:cubicBezTo>
                  <a:lnTo>
                    <a:pt x="1031" y="1875"/>
                  </a:lnTo>
                  <a:cubicBezTo>
                    <a:pt x="1031" y="2437"/>
                    <a:pt x="1406" y="2875"/>
                    <a:pt x="1969" y="2875"/>
                  </a:cubicBezTo>
                  <a:cubicBezTo>
                    <a:pt x="2562" y="2875"/>
                    <a:pt x="2906" y="2437"/>
                    <a:pt x="2906" y="1906"/>
                  </a:cubicBezTo>
                </a:path>
              </a:pathLst>
            </a:custGeom>
            <a:grpFill/>
            <a:ln>
              <a:noFill/>
            </a:ln>
          </p:spPr>
        </p:sp>
        <p:sp>
          <p:nvSpPr>
            <p:cNvPr id="24" name="Freeform 4">
              <a:extLst>
                <a:ext uri="{FF2B5EF4-FFF2-40B4-BE49-F238E27FC236}">
                  <a16:creationId xmlns:a16="http://schemas.microsoft.com/office/drawing/2014/main" id="{432D0A89-4BCC-514C-AE92-8A39DD402801}"/>
                </a:ext>
              </a:extLst>
            </p:cNvPr>
            <p:cNvSpPr/>
            <p:nvPr/>
          </p:nvSpPr>
          <p:spPr>
            <a:xfrm>
              <a:off x="5574240" y="5226120"/>
              <a:ext cx="1192680" cy="1328040"/>
            </a:xfrm>
            <a:custGeom>
              <a:avLst/>
              <a:gdLst/>
              <a:ahLst/>
              <a:cxnLst/>
              <a:rect l="0" t="0" r="r" b="b"/>
              <a:pathLst>
                <a:path w="3313" h="3689">
                  <a:moveTo>
                    <a:pt x="0" y="2344"/>
                  </a:moveTo>
                  <a:lnTo>
                    <a:pt x="0" y="2344"/>
                  </a:lnTo>
                  <a:cubicBezTo>
                    <a:pt x="0" y="0"/>
                    <a:pt x="0" y="0"/>
                    <a:pt x="0" y="0"/>
                  </a:cubicBezTo>
                  <a:cubicBezTo>
                    <a:pt x="1000" y="0"/>
                    <a:pt x="1000" y="0"/>
                    <a:pt x="1000" y="0"/>
                  </a:cubicBezTo>
                  <a:cubicBezTo>
                    <a:pt x="1000" y="2031"/>
                    <a:pt x="1000" y="2031"/>
                    <a:pt x="1000" y="2031"/>
                  </a:cubicBezTo>
                  <a:cubicBezTo>
                    <a:pt x="1000" y="2531"/>
                    <a:pt x="1250" y="2781"/>
                    <a:pt x="1625" y="2781"/>
                  </a:cubicBezTo>
                  <a:cubicBezTo>
                    <a:pt x="2031" y="2781"/>
                    <a:pt x="2281" y="2531"/>
                    <a:pt x="2281" y="2031"/>
                  </a:cubicBezTo>
                  <a:cubicBezTo>
                    <a:pt x="2281" y="0"/>
                    <a:pt x="2281" y="0"/>
                    <a:pt x="2281" y="0"/>
                  </a:cubicBezTo>
                  <a:cubicBezTo>
                    <a:pt x="3312" y="0"/>
                    <a:pt x="3312" y="0"/>
                    <a:pt x="3312" y="0"/>
                  </a:cubicBezTo>
                  <a:cubicBezTo>
                    <a:pt x="3312" y="3625"/>
                    <a:pt x="3312" y="3625"/>
                    <a:pt x="3312" y="3625"/>
                  </a:cubicBezTo>
                  <a:cubicBezTo>
                    <a:pt x="2281" y="3625"/>
                    <a:pt x="2281" y="3625"/>
                    <a:pt x="2281" y="3625"/>
                  </a:cubicBezTo>
                  <a:cubicBezTo>
                    <a:pt x="2281" y="3125"/>
                    <a:pt x="2281" y="3125"/>
                    <a:pt x="2281" y="3125"/>
                  </a:cubicBezTo>
                  <a:cubicBezTo>
                    <a:pt x="2031" y="3406"/>
                    <a:pt x="1750" y="3688"/>
                    <a:pt x="1218" y="3688"/>
                  </a:cubicBezTo>
                  <a:cubicBezTo>
                    <a:pt x="437" y="3688"/>
                    <a:pt x="0" y="3188"/>
                    <a:pt x="0" y="2344"/>
                  </a:cubicBezTo>
                </a:path>
              </a:pathLst>
            </a:custGeom>
            <a:grpFill/>
            <a:ln>
              <a:noFill/>
            </a:ln>
          </p:spPr>
        </p:sp>
        <p:sp>
          <p:nvSpPr>
            <p:cNvPr id="25" name="Freeform 5">
              <a:extLst>
                <a:ext uri="{FF2B5EF4-FFF2-40B4-BE49-F238E27FC236}">
                  <a16:creationId xmlns:a16="http://schemas.microsoft.com/office/drawing/2014/main" id="{4B31D90D-D7AE-EE41-8772-2E4B0329C70F}"/>
                </a:ext>
              </a:extLst>
            </p:cNvPr>
            <p:cNvSpPr/>
            <p:nvPr/>
          </p:nvSpPr>
          <p:spPr>
            <a:xfrm>
              <a:off x="6980400" y="4899960"/>
              <a:ext cx="675360" cy="1654200"/>
            </a:xfrm>
            <a:custGeom>
              <a:avLst/>
              <a:gdLst/>
              <a:ahLst/>
              <a:cxnLst/>
              <a:rect l="0" t="0" r="r" b="b"/>
              <a:pathLst>
                <a:path w="1876" h="4595">
                  <a:moveTo>
                    <a:pt x="0" y="3500"/>
                  </a:moveTo>
                  <a:lnTo>
                    <a:pt x="0" y="3500"/>
                  </a:lnTo>
                  <a:cubicBezTo>
                    <a:pt x="0" y="0"/>
                    <a:pt x="0" y="0"/>
                    <a:pt x="0" y="0"/>
                  </a:cubicBezTo>
                  <a:cubicBezTo>
                    <a:pt x="1031" y="0"/>
                    <a:pt x="1031" y="0"/>
                    <a:pt x="1031" y="0"/>
                  </a:cubicBezTo>
                  <a:cubicBezTo>
                    <a:pt x="1031" y="906"/>
                    <a:pt x="1031" y="906"/>
                    <a:pt x="1031" y="906"/>
                  </a:cubicBezTo>
                  <a:cubicBezTo>
                    <a:pt x="1875" y="906"/>
                    <a:pt x="1875" y="906"/>
                    <a:pt x="1875" y="906"/>
                  </a:cubicBezTo>
                  <a:cubicBezTo>
                    <a:pt x="1875" y="1781"/>
                    <a:pt x="1875" y="1781"/>
                    <a:pt x="1875" y="1781"/>
                  </a:cubicBezTo>
                  <a:cubicBezTo>
                    <a:pt x="1031" y="1781"/>
                    <a:pt x="1031" y="1781"/>
                    <a:pt x="1031" y="1781"/>
                  </a:cubicBezTo>
                  <a:cubicBezTo>
                    <a:pt x="1031" y="3344"/>
                    <a:pt x="1031" y="3344"/>
                    <a:pt x="1031" y="3344"/>
                  </a:cubicBezTo>
                  <a:cubicBezTo>
                    <a:pt x="1031" y="3562"/>
                    <a:pt x="1125" y="3687"/>
                    <a:pt x="1344" y="3687"/>
                  </a:cubicBezTo>
                  <a:cubicBezTo>
                    <a:pt x="1531" y="3687"/>
                    <a:pt x="1719" y="3656"/>
                    <a:pt x="1844" y="3562"/>
                  </a:cubicBezTo>
                  <a:cubicBezTo>
                    <a:pt x="1844" y="4375"/>
                    <a:pt x="1844" y="4375"/>
                    <a:pt x="1844" y="4375"/>
                  </a:cubicBezTo>
                  <a:cubicBezTo>
                    <a:pt x="1656" y="4531"/>
                    <a:pt x="1406" y="4594"/>
                    <a:pt x="1031" y="4594"/>
                  </a:cubicBezTo>
                  <a:cubicBezTo>
                    <a:pt x="406" y="4594"/>
                    <a:pt x="0" y="4344"/>
                    <a:pt x="0" y="3500"/>
                  </a:cubicBezTo>
                </a:path>
              </a:pathLst>
            </a:custGeom>
            <a:grpFill/>
            <a:ln>
              <a:noFill/>
            </a:ln>
          </p:spPr>
        </p:sp>
        <p:sp>
          <p:nvSpPr>
            <p:cNvPr id="26" name="Freeform 6">
              <a:extLst>
                <a:ext uri="{FF2B5EF4-FFF2-40B4-BE49-F238E27FC236}">
                  <a16:creationId xmlns:a16="http://schemas.microsoft.com/office/drawing/2014/main" id="{F62C6D1A-96EE-7949-AF28-D36EB5E50BE0}"/>
                </a:ext>
              </a:extLst>
            </p:cNvPr>
            <p:cNvSpPr/>
            <p:nvPr/>
          </p:nvSpPr>
          <p:spPr>
            <a:xfrm>
              <a:off x="7812720" y="5214960"/>
              <a:ext cx="1058040" cy="1339200"/>
            </a:xfrm>
            <a:custGeom>
              <a:avLst/>
              <a:gdLst/>
              <a:ahLst/>
              <a:cxnLst/>
              <a:rect l="0" t="0" r="r" b="b"/>
              <a:pathLst>
                <a:path w="2939" h="3720">
                  <a:moveTo>
                    <a:pt x="0" y="3187"/>
                  </a:moveTo>
                  <a:lnTo>
                    <a:pt x="0" y="3187"/>
                  </a:lnTo>
                  <a:cubicBezTo>
                    <a:pt x="438" y="2500"/>
                    <a:pt x="438" y="2500"/>
                    <a:pt x="438" y="2500"/>
                  </a:cubicBezTo>
                  <a:cubicBezTo>
                    <a:pt x="844" y="2781"/>
                    <a:pt x="1250" y="2937"/>
                    <a:pt x="1594" y="2937"/>
                  </a:cubicBezTo>
                  <a:cubicBezTo>
                    <a:pt x="1875" y="2937"/>
                    <a:pt x="2032" y="2844"/>
                    <a:pt x="2032" y="2656"/>
                  </a:cubicBezTo>
                  <a:lnTo>
                    <a:pt x="2032" y="2656"/>
                  </a:lnTo>
                  <a:cubicBezTo>
                    <a:pt x="2032" y="2437"/>
                    <a:pt x="1657" y="2344"/>
                    <a:pt x="1282" y="2250"/>
                  </a:cubicBezTo>
                  <a:cubicBezTo>
                    <a:pt x="782" y="2094"/>
                    <a:pt x="188" y="1844"/>
                    <a:pt x="188" y="1156"/>
                  </a:cubicBezTo>
                  <a:cubicBezTo>
                    <a:pt x="188" y="1125"/>
                    <a:pt x="188" y="1125"/>
                    <a:pt x="188" y="1125"/>
                  </a:cubicBezTo>
                  <a:cubicBezTo>
                    <a:pt x="188" y="406"/>
                    <a:pt x="782" y="0"/>
                    <a:pt x="1532" y="0"/>
                  </a:cubicBezTo>
                  <a:cubicBezTo>
                    <a:pt x="1969" y="0"/>
                    <a:pt x="2469" y="156"/>
                    <a:pt x="2875" y="406"/>
                  </a:cubicBezTo>
                  <a:cubicBezTo>
                    <a:pt x="2469" y="1125"/>
                    <a:pt x="2469" y="1125"/>
                    <a:pt x="2469" y="1125"/>
                  </a:cubicBezTo>
                  <a:cubicBezTo>
                    <a:pt x="2125" y="906"/>
                    <a:pt x="1750" y="781"/>
                    <a:pt x="1500" y="781"/>
                  </a:cubicBezTo>
                  <a:cubicBezTo>
                    <a:pt x="1250" y="781"/>
                    <a:pt x="1125" y="875"/>
                    <a:pt x="1125" y="1031"/>
                  </a:cubicBezTo>
                  <a:lnTo>
                    <a:pt x="1125" y="1031"/>
                  </a:lnTo>
                  <a:cubicBezTo>
                    <a:pt x="1125" y="1250"/>
                    <a:pt x="1469" y="1344"/>
                    <a:pt x="1844" y="1469"/>
                  </a:cubicBezTo>
                  <a:cubicBezTo>
                    <a:pt x="2375" y="1656"/>
                    <a:pt x="2938" y="1875"/>
                    <a:pt x="2938" y="2562"/>
                  </a:cubicBezTo>
                  <a:lnTo>
                    <a:pt x="2938" y="2562"/>
                  </a:lnTo>
                  <a:cubicBezTo>
                    <a:pt x="2938" y="3375"/>
                    <a:pt x="2344" y="3719"/>
                    <a:pt x="1563" y="3719"/>
                  </a:cubicBezTo>
                  <a:cubicBezTo>
                    <a:pt x="1063" y="3719"/>
                    <a:pt x="500" y="3562"/>
                    <a:pt x="0" y="3187"/>
                  </a:cubicBezTo>
                </a:path>
              </a:pathLst>
            </a:custGeom>
            <a:grpFill/>
            <a:ln>
              <a:noFill/>
            </a:ln>
          </p:spPr>
        </p:sp>
        <p:sp>
          <p:nvSpPr>
            <p:cNvPr id="27" name="Freeform 7">
              <a:extLst>
                <a:ext uri="{FF2B5EF4-FFF2-40B4-BE49-F238E27FC236}">
                  <a16:creationId xmlns:a16="http://schemas.microsoft.com/office/drawing/2014/main" id="{C10398C2-BEC5-7F4A-BC5F-337A1FE6E5C1}"/>
                </a:ext>
              </a:extLst>
            </p:cNvPr>
            <p:cNvSpPr/>
            <p:nvPr/>
          </p:nvSpPr>
          <p:spPr>
            <a:xfrm>
              <a:off x="3144600" y="2076480"/>
              <a:ext cx="1395360" cy="934200"/>
            </a:xfrm>
            <a:custGeom>
              <a:avLst/>
              <a:gdLst/>
              <a:ahLst/>
              <a:cxnLst/>
              <a:rect l="0" t="0" r="r" b="b"/>
              <a:pathLst>
                <a:path w="3876" h="2595">
                  <a:moveTo>
                    <a:pt x="2843" y="1281"/>
                  </a:moveTo>
                  <a:lnTo>
                    <a:pt x="2843" y="1281"/>
                  </a:lnTo>
                  <a:cubicBezTo>
                    <a:pt x="3125" y="1750"/>
                    <a:pt x="3281" y="2250"/>
                    <a:pt x="3312" y="2594"/>
                  </a:cubicBezTo>
                  <a:cubicBezTo>
                    <a:pt x="3875" y="2594"/>
                    <a:pt x="3875" y="2594"/>
                    <a:pt x="3875" y="2594"/>
                  </a:cubicBezTo>
                  <a:cubicBezTo>
                    <a:pt x="3812" y="2188"/>
                    <a:pt x="3656" y="1563"/>
                    <a:pt x="3281" y="1000"/>
                  </a:cubicBezTo>
                  <a:cubicBezTo>
                    <a:pt x="2843" y="344"/>
                    <a:pt x="2312" y="0"/>
                    <a:pt x="1687" y="0"/>
                  </a:cubicBezTo>
                  <a:cubicBezTo>
                    <a:pt x="1656" y="0"/>
                    <a:pt x="1656" y="0"/>
                    <a:pt x="1656" y="0"/>
                  </a:cubicBezTo>
                  <a:cubicBezTo>
                    <a:pt x="1187" y="0"/>
                    <a:pt x="750" y="219"/>
                    <a:pt x="437" y="594"/>
                  </a:cubicBezTo>
                  <a:cubicBezTo>
                    <a:pt x="125" y="969"/>
                    <a:pt x="0" y="1500"/>
                    <a:pt x="125" y="1969"/>
                  </a:cubicBezTo>
                  <a:cubicBezTo>
                    <a:pt x="625" y="1875"/>
                    <a:pt x="625" y="1875"/>
                    <a:pt x="625" y="1875"/>
                  </a:cubicBezTo>
                  <a:cubicBezTo>
                    <a:pt x="562" y="1531"/>
                    <a:pt x="656" y="1188"/>
                    <a:pt x="843" y="906"/>
                  </a:cubicBezTo>
                  <a:cubicBezTo>
                    <a:pt x="1062" y="656"/>
                    <a:pt x="1343" y="531"/>
                    <a:pt x="1656" y="531"/>
                  </a:cubicBezTo>
                  <a:cubicBezTo>
                    <a:pt x="1687" y="531"/>
                    <a:pt x="1687" y="531"/>
                    <a:pt x="1687" y="531"/>
                  </a:cubicBezTo>
                  <a:cubicBezTo>
                    <a:pt x="2218" y="531"/>
                    <a:pt x="2625" y="938"/>
                    <a:pt x="2843" y="1281"/>
                  </a:cubicBezTo>
                </a:path>
              </a:pathLst>
            </a:custGeom>
            <a:grpFill/>
            <a:ln>
              <a:noFill/>
            </a:ln>
          </p:spPr>
        </p:sp>
        <p:sp>
          <p:nvSpPr>
            <p:cNvPr id="28" name="Freeform 8">
              <a:extLst>
                <a:ext uri="{FF2B5EF4-FFF2-40B4-BE49-F238E27FC236}">
                  <a16:creationId xmlns:a16="http://schemas.microsoft.com/office/drawing/2014/main" id="{03C6F4E2-F701-B743-8012-F7F5E389F747}"/>
                </a:ext>
              </a:extLst>
            </p:cNvPr>
            <p:cNvSpPr/>
            <p:nvPr/>
          </p:nvSpPr>
          <p:spPr>
            <a:xfrm>
              <a:off x="4528080" y="3539160"/>
              <a:ext cx="1057680" cy="900000"/>
            </a:xfrm>
            <a:custGeom>
              <a:avLst/>
              <a:gdLst/>
              <a:ahLst/>
              <a:cxnLst/>
              <a:rect l="0" t="0" r="r" b="b"/>
              <a:pathLst>
                <a:path w="2938" h="2500">
                  <a:moveTo>
                    <a:pt x="2843" y="936"/>
                  </a:moveTo>
                  <a:lnTo>
                    <a:pt x="2843" y="936"/>
                  </a:lnTo>
                  <a:cubicBezTo>
                    <a:pt x="2656" y="656"/>
                    <a:pt x="2499" y="312"/>
                    <a:pt x="2437" y="0"/>
                  </a:cubicBezTo>
                  <a:cubicBezTo>
                    <a:pt x="1874" y="0"/>
                    <a:pt x="1874" y="0"/>
                    <a:pt x="1874" y="0"/>
                  </a:cubicBezTo>
                  <a:cubicBezTo>
                    <a:pt x="1937" y="250"/>
                    <a:pt x="2031" y="656"/>
                    <a:pt x="2343" y="1124"/>
                  </a:cubicBezTo>
                  <a:cubicBezTo>
                    <a:pt x="2156" y="1436"/>
                    <a:pt x="1812" y="1717"/>
                    <a:pt x="1469" y="1905"/>
                  </a:cubicBezTo>
                  <a:lnTo>
                    <a:pt x="1469" y="1905"/>
                  </a:lnTo>
                  <a:lnTo>
                    <a:pt x="1469" y="1905"/>
                  </a:lnTo>
                  <a:cubicBezTo>
                    <a:pt x="1125" y="1717"/>
                    <a:pt x="813" y="1436"/>
                    <a:pt x="625" y="1124"/>
                  </a:cubicBezTo>
                  <a:cubicBezTo>
                    <a:pt x="907" y="656"/>
                    <a:pt x="1032" y="250"/>
                    <a:pt x="1063" y="0"/>
                  </a:cubicBezTo>
                  <a:cubicBezTo>
                    <a:pt x="532" y="0"/>
                    <a:pt x="532" y="0"/>
                    <a:pt x="532" y="0"/>
                  </a:cubicBezTo>
                  <a:cubicBezTo>
                    <a:pt x="469" y="312"/>
                    <a:pt x="313" y="656"/>
                    <a:pt x="94" y="936"/>
                  </a:cubicBezTo>
                  <a:cubicBezTo>
                    <a:pt x="0" y="1061"/>
                    <a:pt x="0" y="1061"/>
                    <a:pt x="0" y="1061"/>
                  </a:cubicBezTo>
                  <a:cubicBezTo>
                    <a:pt x="63" y="1217"/>
                    <a:pt x="63" y="1217"/>
                    <a:pt x="63" y="1217"/>
                  </a:cubicBezTo>
                  <a:cubicBezTo>
                    <a:pt x="313" y="1717"/>
                    <a:pt x="813" y="2186"/>
                    <a:pt x="1375" y="2436"/>
                  </a:cubicBezTo>
                  <a:cubicBezTo>
                    <a:pt x="1469" y="2499"/>
                    <a:pt x="1469" y="2499"/>
                    <a:pt x="1469" y="2499"/>
                  </a:cubicBezTo>
                  <a:lnTo>
                    <a:pt x="1469" y="2499"/>
                  </a:lnTo>
                  <a:lnTo>
                    <a:pt x="1469" y="2499"/>
                  </a:lnTo>
                  <a:cubicBezTo>
                    <a:pt x="1593" y="2436"/>
                    <a:pt x="1593" y="2436"/>
                    <a:pt x="1593" y="2436"/>
                  </a:cubicBezTo>
                  <a:cubicBezTo>
                    <a:pt x="2124" y="2186"/>
                    <a:pt x="2656" y="1717"/>
                    <a:pt x="2874" y="1217"/>
                  </a:cubicBezTo>
                  <a:cubicBezTo>
                    <a:pt x="2937" y="1061"/>
                    <a:pt x="2937" y="1061"/>
                    <a:pt x="2937" y="1061"/>
                  </a:cubicBezTo>
                  <a:lnTo>
                    <a:pt x="2843" y="936"/>
                  </a:lnTo>
                </a:path>
              </a:pathLst>
            </a:custGeom>
            <a:grpFill/>
            <a:ln>
              <a:noFill/>
            </a:ln>
          </p:spPr>
        </p:sp>
        <p:sp>
          <p:nvSpPr>
            <p:cNvPr id="29" name="Freeform 9">
              <a:extLst>
                <a:ext uri="{FF2B5EF4-FFF2-40B4-BE49-F238E27FC236}">
                  <a16:creationId xmlns:a16="http://schemas.microsoft.com/office/drawing/2014/main" id="{3D162103-1B09-5B48-904D-23A667E7BAED}"/>
                </a:ext>
              </a:extLst>
            </p:cNvPr>
            <p:cNvSpPr/>
            <p:nvPr/>
          </p:nvSpPr>
          <p:spPr>
            <a:xfrm>
              <a:off x="5585400" y="2076480"/>
              <a:ext cx="1384200" cy="934200"/>
            </a:xfrm>
            <a:custGeom>
              <a:avLst/>
              <a:gdLst/>
              <a:ahLst/>
              <a:cxnLst/>
              <a:rect l="0" t="0" r="r" b="b"/>
              <a:pathLst>
                <a:path w="3845" h="2595">
                  <a:moveTo>
                    <a:pt x="1031" y="1281"/>
                  </a:moveTo>
                  <a:lnTo>
                    <a:pt x="1031" y="1281"/>
                  </a:lnTo>
                  <a:cubicBezTo>
                    <a:pt x="719" y="1750"/>
                    <a:pt x="594" y="2250"/>
                    <a:pt x="531" y="2594"/>
                  </a:cubicBezTo>
                  <a:cubicBezTo>
                    <a:pt x="0" y="2594"/>
                    <a:pt x="0" y="2594"/>
                    <a:pt x="0" y="2594"/>
                  </a:cubicBezTo>
                  <a:cubicBezTo>
                    <a:pt x="62" y="2188"/>
                    <a:pt x="219" y="1563"/>
                    <a:pt x="594" y="1000"/>
                  </a:cubicBezTo>
                  <a:cubicBezTo>
                    <a:pt x="1000" y="344"/>
                    <a:pt x="1562" y="0"/>
                    <a:pt x="2187" y="0"/>
                  </a:cubicBezTo>
                  <a:lnTo>
                    <a:pt x="2187" y="0"/>
                  </a:lnTo>
                  <a:cubicBezTo>
                    <a:pt x="2656" y="0"/>
                    <a:pt x="3125" y="219"/>
                    <a:pt x="3406" y="594"/>
                  </a:cubicBezTo>
                  <a:cubicBezTo>
                    <a:pt x="3750" y="969"/>
                    <a:pt x="3844" y="1500"/>
                    <a:pt x="3750" y="1969"/>
                  </a:cubicBezTo>
                  <a:cubicBezTo>
                    <a:pt x="3219" y="1875"/>
                    <a:pt x="3219" y="1875"/>
                    <a:pt x="3219" y="1875"/>
                  </a:cubicBezTo>
                  <a:cubicBezTo>
                    <a:pt x="3312" y="1531"/>
                    <a:pt x="3219" y="1188"/>
                    <a:pt x="3000" y="906"/>
                  </a:cubicBezTo>
                  <a:cubicBezTo>
                    <a:pt x="2812" y="656"/>
                    <a:pt x="2500" y="531"/>
                    <a:pt x="2187" y="531"/>
                  </a:cubicBezTo>
                  <a:lnTo>
                    <a:pt x="2187" y="531"/>
                  </a:lnTo>
                  <a:cubicBezTo>
                    <a:pt x="1625" y="531"/>
                    <a:pt x="1250" y="938"/>
                    <a:pt x="1031" y="1281"/>
                  </a:cubicBezTo>
                </a:path>
              </a:pathLst>
            </a:custGeom>
            <a:grpFill/>
            <a:ln>
              <a:noFill/>
            </a:ln>
          </p:spPr>
        </p:sp>
        <p:sp>
          <p:nvSpPr>
            <p:cNvPr id="30" name="Freeform 10">
              <a:extLst>
                <a:ext uri="{FF2B5EF4-FFF2-40B4-BE49-F238E27FC236}">
                  <a16:creationId xmlns:a16="http://schemas.microsoft.com/office/drawing/2014/main" id="{57A6DEAB-B584-364B-A8DA-8D001296BD57}"/>
                </a:ext>
              </a:extLst>
            </p:cNvPr>
            <p:cNvSpPr/>
            <p:nvPr/>
          </p:nvSpPr>
          <p:spPr>
            <a:xfrm>
              <a:off x="4393080" y="996480"/>
              <a:ext cx="1338840" cy="2014200"/>
            </a:xfrm>
            <a:custGeom>
              <a:avLst/>
              <a:gdLst/>
              <a:ahLst/>
              <a:cxnLst/>
              <a:rect l="0" t="0" r="r" b="b"/>
              <a:pathLst>
                <a:path w="3719" h="5595">
                  <a:moveTo>
                    <a:pt x="938" y="5594"/>
                  </a:moveTo>
                  <a:lnTo>
                    <a:pt x="938" y="5594"/>
                  </a:lnTo>
                  <a:cubicBezTo>
                    <a:pt x="1469" y="5594"/>
                    <a:pt x="1469" y="5594"/>
                    <a:pt x="1469" y="5594"/>
                  </a:cubicBezTo>
                  <a:cubicBezTo>
                    <a:pt x="1407" y="5000"/>
                    <a:pt x="1157" y="4438"/>
                    <a:pt x="938" y="3969"/>
                  </a:cubicBezTo>
                  <a:cubicBezTo>
                    <a:pt x="719" y="3500"/>
                    <a:pt x="532" y="3063"/>
                    <a:pt x="532" y="2594"/>
                  </a:cubicBezTo>
                  <a:cubicBezTo>
                    <a:pt x="532" y="2094"/>
                    <a:pt x="813" y="1563"/>
                    <a:pt x="1313" y="1219"/>
                  </a:cubicBezTo>
                  <a:cubicBezTo>
                    <a:pt x="1407" y="1125"/>
                    <a:pt x="1625" y="969"/>
                    <a:pt x="1844" y="750"/>
                  </a:cubicBezTo>
                  <a:cubicBezTo>
                    <a:pt x="2062" y="969"/>
                    <a:pt x="2312" y="1125"/>
                    <a:pt x="2406" y="1219"/>
                  </a:cubicBezTo>
                  <a:cubicBezTo>
                    <a:pt x="2874" y="1563"/>
                    <a:pt x="3187" y="2094"/>
                    <a:pt x="3187" y="2594"/>
                  </a:cubicBezTo>
                  <a:cubicBezTo>
                    <a:pt x="3187" y="3063"/>
                    <a:pt x="2968" y="3500"/>
                    <a:pt x="2781" y="3969"/>
                  </a:cubicBezTo>
                  <a:cubicBezTo>
                    <a:pt x="2562" y="4438"/>
                    <a:pt x="2312" y="5000"/>
                    <a:pt x="2249" y="5594"/>
                  </a:cubicBezTo>
                  <a:cubicBezTo>
                    <a:pt x="2781" y="5594"/>
                    <a:pt x="2781" y="5594"/>
                    <a:pt x="2781" y="5594"/>
                  </a:cubicBezTo>
                  <a:cubicBezTo>
                    <a:pt x="2843" y="5094"/>
                    <a:pt x="3062" y="4625"/>
                    <a:pt x="3249" y="4188"/>
                  </a:cubicBezTo>
                  <a:cubicBezTo>
                    <a:pt x="3499" y="3656"/>
                    <a:pt x="3718" y="3156"/>
                    <a:pt x="3718" y="2594"/>
                  </a:cubicBezTo>
                  <a:cubicBezTo>
                    <a:pt x="3718" y="1938"/>
                    <a:pt x="3343" y="1250"/>
                    <a:pt x="2718" y="781"/>
                  </a:cubicBezTo>
                  <a:cubicBezTo>
                    <a:pt x="2656" y="719"/>
                    <a:pt x="2281" y="438"/>
                    <a:pt x="2062" y="188"/>
                  </a:cubicBezTo>
                  <a:cubicBezTo>
                    <a:pt x="1844" y="0"/>
                    <a:pt x="1844" y="0"/>
                    <a:pt x="1844" y="0"/>
                  </a:cubicBezTo>
                  <a:cubicBezTo>
                    <a:pt x="1657" y="188"/>
                    <a:pt x="1657" y="188"/>
                    <a:pt x="1657" y="188"/>
                  </a:cubicBezTo>
                  <a:cubicBezTo>
                    <a:pt x="1438" y="438"/>
                    <a:pt x="1063" y="719"/>
                    <a:pt x="1000" y="781"/>
                  </a:cubicBezTo>
                  <a:cubicBezTo>
                    <a:pt x="375" y="1250"/>
                    <a:pt x="0" y="1938"/>
                    <a:pt x="0" y="2594"/>
                  </a:cubicBezTo>
                  <a:cubicBezTo>
                    <a:pt x="0" y="3156"/>
                    <a:pt x="219" y="3656"/>
                    <a:pt x="469" y="4188"/>
                  </a:cubicBezTo>
                  <a:cubicBezTo>
                    <a:pt x="657" y="4625"/>
                    <a:pt x="875" y="5094"/>
                    <a:pt x="938" y="5594"/>
                  </a:cubicBezTo>
                </a:path>
              </a:pathLst>
            </a:custGeom>
            <a:grpFill/>
            <a:ln>
              <a:noFill/>
            </a:ln>
          </p:spPr>
        </p:sp>
        <p:sp>
          <p:nvSpPr>
            <p:cNvPr id="31" name="Freeform 11">
              <a:extLst>
                <a:ext uri="{FF2B5EF4-FFF2-40B4-BE49-F238E27FC236}">
                  <a16:creationId xmlns:a16="http://schemas.microsoft.com/office/drawing/2014/main" id="{F27CDA6D-C6BF-8747-A748-820356AE67A1}"/>
                </a:ext>
              </a:extLst>
            </p:cNvPr>
            <p:cNvSpPr/>
            <p:nvPr/>
          </p:nvSpPr>
          <p:spPr>
            <a:xfrm>
              <a:off x="3965760" y="3179160"/>
              <a:ext cx="2182320" cy="191520"/>
            </a:xfrm>
            <a:custGeom>
              <a:avLst/>
              <a:gdLst/>
              <a:ahLst/>
              <a:cxnLst/>
              <a:rect l="0" t="0" r="r" b="b"/>
              <a:pathLst>
                <a:path w="6062" h="532">
                  <a:moveTo>
                    <a:pt x="0" y="531"/>
                  </a:moveTo>
                  <a:lnTo>
                    <a:pt x="6061" y="531"/>
                  </a:lnTo>
                  <a:lnTo>
                    <a:pt x="6061" y="0"/>
                  </a:lnTo>
                  <a:lnTo>
                    <a:pt x="0" y="0"/>
                  </a:lnTo>
                  <a:lnTo>
                    <a:pt x="0" y="531"/>
                  </a:lnTo>
                </a:path>
              </a:pathLst>
            </a:custGeom>
            <a:grpFill/>
            <a:ln>
              <a:noFill/>
            </a:ln>
          </p:spPr>
        </p:sp>
      </p:grpSp>
      <p:sp>
        <p:nvSpPr>
          <p:cNvPr id="8" name="Text Placeholder 7">
            <a:extLst>
              <a:ext uri="{FF2B5EF4-FFF2-40B4-BE49-F238E27FC236}">
                <a16:creationId xmlns:a16="http://schemas.microsoft.com/office/drawing/2014/main" id="{B9BF7824-4379-834E-86BB-B51DDD0B2DAC}"/>
              </a:ext>
            </a:extLst>
          </p:cNvPr>
          <p:cNvSpPr>
            <a:spLocks noGrp="1"/>
          </p:cNvSpPr>
          <p:nvPr>
            <p:ph type="body" sz="quarter" idx="10" hasCustomPrompt="1"/>
          </p:nvPr>
        </p:nvSpPr>
        <p:spPr>
          <a:xfrm>
            <a:off x="1981339" y="4569518"/>
            <a:ext cx="8229325" cy="1019175"/>
          </a:xfrm>
        </p:spPr>
        <p:txBody>
          <a:bodyPr>
            <a:noAutofit/>
          </a:bodyPr>
          <a:lstStyle>
            <a:lvl1pPr marL="0" algn="ctr" defTabSz="685783" rtl="0" eaLnBrk="1" latinLnBrk="0" hangingPunct="1">
              <a:defRPr lang="en-US" sz="4050" b="1" kern="1200" dirty="0" smtClean="0">
                <a:solidFill>
                  <a:schemeClr val="bg1"/>
                </a:solidFill>
                <a:latin typeface="Nunito Sans ExtraBold" pitchFamily="2" charset="77"/>
                <a:ea typeface="+mn-ea"/>
                <a:cs typeface="+mn-cs"/>
              </a:defRPr>
            </a:lvl1pPr>
          </a:lstStyle>
          <a:p>
            <a:pPr lvl="0"/>
            <a:r>
              <a:rPr lang="en-US"/>
              <a:t>Insert name here</a:t>
            </a:r>
          </a:p>
        </p:txBody>
      </p:sp>
    </p:spTree>
    <p:extLst>
      <p:ext uri="{BB962C8B-B14F-4D97-AF65-F5344CB8AC3E}">
        <p14:creationId xmlns:p14="http://schemas.microsoft.com/office/powerpoint/2010/main" val="266189750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extLst>
      <p:ext uri="{BB962C8B-B14F-4D97-AF65-F5344CB8AC3E}">
        <p14:creationId xmlns:p14="http://schemas.microsoft.com/office/powerpoint/2010/main" val="39600109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8" name="Text Placeholder 7">
            <a:extLst>
              <a:ext uri="{FF2B5EF4-FFF2-40B4-BE49-F238E27FC236}">
                <a16:creationId xmlns:a16="http://schemas.microsoft.com/office/drawing/2014/main" id="{B9BF7824-4379-834E-86BB-B51DDD0B2DAC}"/>
              </a:ext>
            </a:extLst>
          </p:cNvPr>
          <p:cNvSpPr>
            <a:spLocks noGrp="1"/>
          </p:cNvSpPr>
          <p:nvPr>
            <p:ph type="body" sz="quarter" idx="10" hasCustomPrompt="1"/>
          </p:nvPr>
        </p:nvSpPr>
        <p:spPr>
          <a:xfrm>
            <a:off x="1981338" y="4569517"/>
            <a:ext cx="8229325" cy="1019175"/>
          </a:xfrm>
        </p:spPr>
        <p:txBody>
          <a:bodyPr>
            <a:noAutofit/>
          </a:bodyPr>
          <a:lstStyle>
            <a:lvl1pPr marL="0" indent="0" algn="ctr" defTabSz="685800" rtl="0" eaLnBrk="1" latinLnBrk="0" hangingPunct="1">
              <a:buNone/>
              <a:defRPr lang="en-US" sz="4050" b="0" kern="1200" dirty="0" smtClean="0">
                <a:solidFill>
                  <a:schemeClr val="bg1"/>
                </a:solidFill>
                <a:latin typeface="Nunito Sans Black" panose="00000A00000000000000" pitchFamily="2" charset="0"/>
                <a:ea typeface="+mn-ea"/>
                <a:cs typeface="+mn-cs"/>
              </a:defRPr>
            </a:lvl1pPr>
          </a:lstStyle>
          <a:p>
            <a:pPr lvl="0"/>
            <a:r>
              <a:rPr lang="en-US"/>
              <a:t>Insert name here</a:t>
            </a:r>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02191" y="1581152"/>
            <a:ext cx="3787619" cy="2766176"/>
          </a:xfrm>
          <a:prstGeom prst="rect">
            <a:avLst/>
          </a:prstGeom>
        </p:spPr>
      </p:pic>
    </p:spTree>
    <p:extLst>
      <p:ext uri="{BB962C8B-B14F-4D97-AF65-F5344CB8AC3E}">
        <p14:creationId xmlns:p14="http://schemas.microsoft.com/office/powerpoint/2010/main" val="52553600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extLst>
      <p:ext uri="{BB962C8B-B14F-4D97-AF65-F5344CB8AC3E}">
        <p14:creationId xmlns:p14="http://schemas.microsoft.com/office/powerpoint/2010/main" val="212924781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9" name="object 2"/>
          <p:cNvSpPr txBox="1"/>
          <p:nvPr userDrawn="1"/>
        </p:nvSpPr>
        <p:spPr>
          <a:xfrm>
            <a:off x="2266950" y="4034726"/>
            <a:ext cx="2558415" cy="632866"/>
          </a:xfrm>
          <a:prstGeom prst="rect">
            <a:avLst/>
          </a:prstGeom>
        </p:spPr>
        <p:txBody>
          <a:bodyPr vert="horz" wrap="square" lIns="0" tIns="9525" rIns="0" bIns="0" rtlCol="0">
            <a:spAutoFit/>
          </a:bodyPr>
          <a:lstStyle/>
          <a:p>
            <a:pPr marL="9525">
              <a:lnSpc>
                <a:spcPct val="100000"/>
              </a:lnSpc>
              <a:spcBef>
                <a:spcPts val="75"/>
              </a:spcBef>
            </a:pPr>
            <a:r>
              <a:rPr sz="4050" b="0" i="0" spc="-4">
                <a:solidFill>
                  <a:srgbClr val="FFFFFF"/>
                </a:solidFill>
                <a:latin typeface="Nunito Sans Black" pitchFamily="2" charset="77"/>
                <a:ea typeface="Nunito Sans Black" charset="0"/>
                <a:cs typeface="Nunito Sans Black" charset="0"/>
              </a:rPr>
              <a:t>Thank</a:t>
            </a:r>
            <a:r>
              <a:rPr sz="4050" b="0" i="0" spc="-30">
                <a:solidFill>
                  <a:srgbClr val="FFFFFF"/>
                </a:solidFill>
                <a:latin typeface="Nunito Sans Black" pitchFamily="2" charset="77"/>
                <a:ea typeface="Nunito Sans Black" charset="0"/>
                <a:cs typeface="Nunito Sans Black" charset="0"/>
              </a:rPr>
              <a:t> </a:t>
            </a:r>
            <a:r>
              <a:rPr sz="4050" b="0" i="0" spc="-98">
                <a:solidFill>
                  <a:srgbClr val="FFFFFF"/>
                </a:solidFill>
                <a:latin typeface="Nunito Sans Black" pitchFamily="2" charset="77"/>
                <a:ea typeface="Nunito Sans Black" charset="0"/>
                <a:cs typeface="Nunito Sans Black" charset="0"/>
              </a:rPr>
              <a:t>you</a:t>
            </a:r>
            <a:endParaRPr sz="4050" b="0" i="0">
              <a:latin typeface="Nunito Sans Black" pitchFamily="2" charset="77"/>
              <a:ea typeface="Nunito Sans Black" charset="0"/>
              <a:cs typeface="Nunito Sans Black" charset="0"/>
            </a:endParaRPr>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336930978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1_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202406897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88953557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414362983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1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21375458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31" name="Pictur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8486466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t>18/02/2018</a:t>
            </a:r>
            <a:endParaRPr lang="mr-IN"/>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330442319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215520773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328005275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80004093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87573880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41055019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98347141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283638396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9792883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2648414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169106737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10973463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59849540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85311159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47494065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62825911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7" name="Picture 26">
            <a:extLst>
              <a:ext uri="{FF2B5EF4-FFF2-40B4-BE49-F238E27FC236}">
                <a16:creationId xmlns:a16="http://schemas.microsoft.com/office/drawing/2014/main" id="{41C61C70-6A4D-439C-8A89-8538802DC9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33868946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1_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225550127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0F57CD9A-2D1D-7A4C-BF76-1884EF4102F3}"/>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hasCustomPrompt="1"/>
          </p:nvPr>
        </p:nvSpPr>
        <p:spPr>
          <a:xfrm>
            <a:off x="1158000" y="1620000"/>
            <a:ext cx="3780000" cy="4502943"/>
          </a:xfrm>
          <a:prstGeom prst="rect">
            <a:avLst/>
          </a:prstGeom>
        </p:spPr>
        <p:txBody>
          <a:bodyPr>
            <a:noAutofit/>
          </a:bodyPr>
          <a:lstStyle>
            <a:lvl1pPr marL="133200" marR="3810" indent="-122400" algn="l" defTabSz="685800" rtl="0" eaLnBrk="1" latinLnBrk="0" hangingPunct="1">
              <a:lnSpc>
                <a:spcPts val="1950"/>
              </a:lnSpc>
              <a:spcBef>
                <a:spcPts val="315"/>
              </a:spcBef>
              <a:buFont typeface="Arial" panose="020B0604020202020204" pitchFamily="34" charset="0"/>
              <a:buChar char="•"/>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Set the bullets</a:t>
            </a:r>
          </a:p>
        </p:txBody>
      </p:sp>
      <p:pic>
        <p:nvPicPr>
          <p:cNvPr id="26" name="Picture 2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121230183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41991668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9711977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218640740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05704494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39030368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58471711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95679095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187577687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318381110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58020160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371264845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188737912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8137784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69322834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29602384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424531168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223438887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09552444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924326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387658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34526091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396095354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152666561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13943532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8" name="Text Placeholder 7">
            <a:extLst>
              <a:ext uri="{FF2B5EF4-FFF2-40B4-BE49-F238E27FC236}">
                <a16:creationId xmlns:a16="http://schemas.microsoft.com/office/drawing/2014/main" id="{B9BF7824-4379-834E-86BB-B51DDD0B2DAC}"/>
              </a:ext>
            </a:extLst>
          </p:cNvPr>
          <p:cNvSpPr>
            <a:spLocks noGrp="1"/>
          </p:cNvSpPr>
          <p:nvPr>
            <p:ph type="body" sz="quarter" idx="10" hasCustomPrompt="1"/>
          </p:nvPr>
        </p:nvSpPr>
        <p:spPr>
          <a:xfrm>
            <a:off x="1981338" y="4569517"/>
            <a:ext cx="8229325" cy="1019175"/>
          </a:xfrm>
        </p:spPr>
        <p:txBody>
          <a:bodyPr>
            <a:noAutofit/>
          </a:bodyPr>
          <a:lstStyle>
            <a:lvl1pPr marL="0" indent="0" algn="ctr" defTabSz="685800" rtl="0" eaLnBrk="1" latinLnBrk="0" hangingPunct="1">
              <a:buNone/>
              <a:defRPr lang="en-US" sz="4050" b="0" kern="1200" dirty="0" smtClean="0">
                <a:solidFill>
                  <a:schemeClr val="bg1"/>
                </a:solidFill>
                <a:latin typeface="Nunito Sans Black" panose="00000A00000000000000" pitchFamily="2" charset="0"/>
                <a:ea typeface="+mn-ea"/>
                <a:cs typeface="+mn-cs"/>
              </a:defRPr>
            </a:lvl1pPr>
          </a:lstStyle>
          <a:p>
            <a:pPr lvl="0"/>
            <a:r>
              <a:rPr lang="en-US"/>
              <a:t>Insert name here</a:t>
            </a:r>
          </a:p>
        </p:txBody>
      </p:sp>
      <p:pic>
        <p:nvPicPr>
          <p:cNvPr id="32" name="Picture 3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02191" y="1581152"/>
            <a:ext cx="3787619" cy="2766176"/>
          </a:xfrm>
          <a:prstGeom prst="rect">
            <a:avLst/>
          </a:prstGeom>
        </p:spPr>
      </p:pic>
    </p:spTree>
    <p:extLst>
      <p:ext uri="{BB962C8B-B14F-4D97-AF65-F5344CB8AC3E}">
        <p14:creationId xmlns:p14="http://schemas.microsoft.com/office/powerpoint/2010/main" val="6094524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83016654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pic>
        <p:nvPicPr>
          <p:cNvPr id="36" name="Picture 3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54680219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395615001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86198533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215190454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2_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326061972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3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391909833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1_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t>18/02/2018</a:t>
            </a:r>
            <a:endParaRPr lang="mr-IN"/>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297765911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1_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112990918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1_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207965087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CEBBA40D-165A-F453-E1BC-D4EDCF3CED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0466144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86248152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1_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7A855269-D313-02F4-7003-BE0FEEBB16A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93506116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1_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476C3509-7F27-A7F0-D739-F879172AD4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82330724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1_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4" name="Picture 3">
            <a:extLst>
              <a:ext uri="{FF2B5EF4-FFF2-40B4-BE49-F238E27FC236}">
                <a16:creationId xmlns:a16="http://schemas.microsoft.com/office/drawing/2014/main" id="{C5F5C8A3-3A20-3401-A16B-085737EC74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98231836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523797C0-1387-9B6A-7C39-2B3817DED7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36147773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E8320A8B-59E3-9BDC-7207-6A5CBCAD31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77390868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A6C3376C-7F39-9E3C-537E-94440A84F3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403423955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0C965A4B-3F85-87C5-1E6C-1D52BB4FF7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54639742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_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C8BE37AC-C825-4D9C-3997-D855686178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07974901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_•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202C14BD-3BF1-6332-98B6-7777AFE073F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57570867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2_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7" name="bk object 16">
            <a:extLst>
              <a:ext uri="{FF2B5EF4-FFF2-40B4-BE49-F238E27FC236}">
                <a16:creationId xmlns:a16="http://schemas.microsoft.com/office/drawing/2014/main" id="{AECD105E-E1DF-AE42-8BAA-43F6238D6D1B}"/>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1203688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52612768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EE25AA22-4B98-8D58-1CE6-102FDA54BE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8125654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366A0585-ECB7-2EE6-B897-9BA7B4594C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25823897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D0F6DC4-8842-DDBC-B47A-E4BD47C73EE7}"/>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19858089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1_•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72D7B39-28DB-85E1-631E-2FC50D0FD13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85232603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descr="A picture containing text, clipart&#10;&#10;Description automatically generated">
            <a:extLst>
              <a:ext uri="{FF2B5EF4-FFF2-40B4-BE49-F238E27FC236}">
                <a16:creationId xmlns:a16="http://schemas.microsoft.com/office/drawing/2014/main" id="{A96A7085-8B91-4D6E-93A4-7F3CA22508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97977802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3C799A6F-9378-58EF-8FF1-760E84411D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58708920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_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B66ECA4D-4FAB-79C4-E991-0E8042CCC5AF}"/>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246139871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1_•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DACEF503-FE3D-930F-20D4-F29FB1FD76B2}"/>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8619897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1_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2653B8A1-77B4-7E61-5525-FEA2512171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401649384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_•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FCE6BB38-89E3-C779-B588-C4F68F22D7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1074000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60757936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68810608-6CBA-A1D5-68F0-D57726D2BAC6}"/>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82300266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26379A07-702F-6296-4124-FA1EC54A2A9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12060371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descr="A picture containing text, clipart&#10;&#10;Description automatically generated">
            <a:extLst>
              <a:ext uri="{FF2B5EF4-FFF2-40B4-BE49-F238E27FC236}">
                <a16:creationId xmlns:a16="http://schemas.microsoft.com/office/drawing/2014/main" id="{19AE63CF-F8E0-B62A-A454-5CD970D672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08950603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D76E21B-7A12-E8FC-ACD0-4224675D19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18620187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46F6B83-9636-E9CC-E17D-2F4B8BA9D5D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76927571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94F44C7-F913-747C-CC1F-29A512CF50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19986669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1_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bk object 16">
            <a:extLst>
              <a:ext uri="{FF2B5EF4-FFF2-40B4-BE49-F238E27FC236}">
                <a16:creationId xmlns:a16="http://schemas.microsoft.com/office/drawing/2014/main" id="{ABC8B010-0BF7-170A-306A-AE0E8BBBAF30}"/>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277621005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descr="A picture containing text, clipart&#10;&#10;Description automatically generated">
            <a:extLst>
              <a:ext uri="{FF2B5EF4-FFF2-40B4-BE49-F238E27FC236}">
                <a16:creationId xmlns:a16="http://schemas.microsoft.com/office/drawing/2014/main" id="{A8DD76FE-99CC-21D1-31B3-9BD8058CF4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30460011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F52E34B-502E-D3C3-6197-80AB05CA21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10498620"/>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61CE8824-540D-DFBA-31D3-900593369C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5363798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94287508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1_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4" name="Picture 3" descr="A picture containing text, clipart&#10;&#10;Description automatically generated">
            <a:extLst>
              <a:ext uri="{FF2B5EF4-FFF2-40B4-BE49-F238E27FC236}">
                <a16:creationId xmlns:a16="http://schemas.microsoft.com/office/drawing/2014/main" id="{527B2328-A2F8-BF70-040E-6FE14398A0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96965446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1_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sp>
        <p:nvSpPr>
          <p:cNvPr id="4" name="bk object 16">
            <a:extLst>
              <a:ext uri="{FF2B5EF4-FFF2-40B4-BE49-F238E27FC236}">
                <a16:creationId xmlns:a16="http://schemas.microsoft.com/office/drawing/2014/main" id="{7C4633AF-C8C5-975A-1DC2-0BF423A76DF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6267414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1_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 name="bk object 16">
            <a:extLst>
              <a:ext uri="{FF2B5EF4-FFF2-40B4-BE49-F238E27FC236}">
                <a16:creationId xmlns:a16="http://schemas.microsoft.com/office/drawing/2014/main" id="{07D06058-67AE-0C33-827D-D4CEB61ABED4}"/>
              </a:ext>
            </a:extLst>
          </p:cNvPr>
          <p:cNvSpPr/>
          <p:nvPr userDrawn="1"/>
        </p:nvSpPr>
        <p:spPr>
          <a:xfrm>
            <a:off x="10084689" y="360617"/>
            <a:ext cx="1745932" cy="492061"/>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34843279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1_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 name="bk object 16">
            <a:extLst>
              <a:ext uri="{FF2B5EF4-FFF2-40B4-BE49-F238E27FC236}">
                <a16:creationId xmlns:a16="http://schemas.microsoft.com/office/drawing/2014/main" id="{6DF035AD-312B-6056-E925-E62F9BE2678E}"/>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50649560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1_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57068862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lank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Tree>
    <p:extLst>
      <p:ext uri="{BB962C8B-B14F-4D97-AF65-F5344CB8AC3E}">
        <p14:creationId xmlns:p14="http://schemas.microsoft.com/office/powerpoint/2010/main" val="34953920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Blank whi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Tree>
    <p:extLst>
      <p:ext uri="{BB962C8B-B14F-4D97-AF65-F5344CB8AC3E}">
        <p14:creationId xmlns:p14="http://schemas.microsoft.com/office/powerpoint/2010/main" val="8486982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0/31/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extLst>
      <p:ext uri="{BB962C8B-B14F-4D97-AF65-F5344CB8AC3E}">
        <p14:creationId xmlns:p14="http://schemas.microsoft.com/office/powerpoint/2010/main" val="298403149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obj">
  <p:cSld name="1_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0/31/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
        <p:nvSpPr>
          <p:cNvPr id="5" name="bk object 16">
            <a:extLst>
              <a:ext uri="{FF2B5EF4-FFF2-40B4-BE49-F238E27FC236}">
                <a16:creationId xmlns:a16="http://schemas.microsoft.com/office/drawing/2014/main" id="{9973E9CF-844F-FFF6-A27C-71FF428B66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6035240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extLst>
      <p:ext uri="{BB962C8B-B14F-4D97-AF65-F5344CB8AC3E}">
        <p14:creationId xmlns:p14="http://schemas.microsoft.com/office/powerpoint/2010/main" val="11781262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7" name="Picture 26">
            <a:extLst>
              <a:ext uri="{FF2B5EF4-FFF2-40B4-BE49-F238E27FC236}">
                <a16:creationId xmlns:a16="http://schemas.microsoft.com/office/drawing/2014/main" id="{41C61C70-6A4D-439C-8A89-8538802DC9B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09694722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8" name="Text Placeholder 7">
            <a:extLst>
              <a:ext uri="{FF2B5EF4-FFF2-40B4-BE49-F238E27FC236}">
                <a16:creationId xmlns:a16="http://schemas.microsoft.com/office/drawing/2014/main" id="{B9BF7824-4379-834E-86BB-B51DDD0B2DAC}"/>
              </a:ext>
            </a:extLst>
          </p:cNvPr>
          <p:cNvSpPr>
            <a:spLocks noGrp="1"/>
          </p:cNvSpPr>
          <p:nvPr>
            <p:ph type="body" sz="quarter" idx="10" hasCustomPrompt="1"/>
          </p:nvPr>
        </p:nvSpPr>
        <p:spPr>
          <a:xfrm>
            <a:off x="1981338" y="4569517"/>
            <a:ext cx="8229325" cy="1019175"/>
          </a:xfrm>
        </p:spPr>
        <p:txBody>
          <a:bodyPr>
            <a:noAutofit/>
          </a:bodyPr>
          <a:lstStyle>
            <a:lvl1pPr marL="0" indent="0" algn="ctr" defTabSz="685800" rtl="0" eaLnBrk="1" latinLnBrk="0" hangingPunct="1">
              <a:buNone/>
              <a:defRPr lang="en-US" sz="4050" b="0" kern="1200" dirty="0" smtClean="0">
                <a:solidFill>
                  <a:schemeClr val="bg1"/>
                </a:solidFill>
                <a:latin typeface="Nunito Sans Black" panose="00000A00000000000000" pitchFamily="2" charset="0"/>
                <a:ea typeface="+mn-ea"/>
                <a:cs typeface="+mn-cs"/>
              </a:defRPr>
            </a:lvl1pPr>
          </a:lstStyle>
          <a:p>
            <a:pPr lvl="0"/>
            <a:r>
              <a:rPr lang="en-US"/>
              <a:t>Insert name here</a:t>
            </a:r>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02191" y="1581152"/>
            <a:ext cx="3787619" cy="2766176"/>
          </a:xfrm>
          <a:prstGeom prst="rect">
            <a:avLst/>
          </a:prstGeom>
        </p:spPr>
      </p:pic>
    </p:spTree>
    <p:extLst>
      <p:ext uri="{BB962C8B-B14F-4D97-AF65-F5344CB8AC3E}">
        <p14:creationId xmlns:p14="http://schemas.microsoft.com/office/powerpoint/2010/main" val="383647135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extLst>
      <p:ext uri="{BB962C8B-B14F-4D97-AF65-F5344CB8AC3E}">
        <p14:creationId xmlns:p14="http://schemas.microsoft.com/office/powerpoint/2010/main" val="2810537726"/>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9" name="object 2"/>
          <p:cNvSpPr txBox="1"/>
          <p:nvPr userDrawn="1"/>
        </p:nvSpPr>
        <p:spPr>
          <a:xfrm>
            <a:off x="2266950" y="4034726"/>
            <a:ext cx="2558415" cy="632866"/>
          </a:xfrm>
          <a:prstGeom prst="rect">
            <a:avLst/>
          </a:prstGeom>
        </p:spPr>
        <p:txBody>
          <a:bodyPr vert="horz" wrap="square" lIns="0" tIns="9525" rIns="0" bIns="0" rtlCol="0">
            <a:spAutoFit/>
          </a:bodyPr>
          <a:lstStyle/>
          <a:p>
            <a:pPr marL="9525">
              <a:spcBef>
                <a:spcPts val="75"/>
              </a:spcBef>
            </a:pPr>
            <a:r>
              <a:rPr sz="4050" spc="-4">
                <a:solidFill>
                  <a:srgbClr val="FFFFFF"/>
                </a:solidFill>
                <a:latin typeface="Nunito Sans Black" pitchFamily="2" charset="77"/>
                <a:ea typeface="Nunito Sans Black" charset="0"/>
                <a:cs typeface="Nunito Sans Black" charset="0"/>
              </a:rPr>
              <a:t>Thank</a:t>
            </a:r>
            <a:r>
              <a:rPr sz="4050" spc="-30">
                <a:solidFill>
                  <a:srgbClr val="FFFFFF"/>
                </a:solidFill>
                <a:latin typeface="Nunito Sans Black" pitchFamily="2" charset="77"/>
                <a:ea typeface="Nunito Sans Black" charset="0"/>
                <a:cs typeface="Nunito Sans Black" charset="0"/>
              </a:rPr>
              <a:t> </a:t>
            </a:r>
            <a:r>
              <a:rPr sz="4050" spc="-98">
                <a:solidFill>
                  <a:srgbClr val="FFFFFF"/>
                </a:solidFill>
                <a:latin typeface="Nunito Sans Black" pitchFamily="2" charset="77"/>
                <a:ea typeface="Nunito Sans Black" charset="0"/>
                <a:cs typeface="Nunito Sans Black" charset="0"/>
              </a:rPr>
              <a:t>you</a:t>
            </a:r>
            <a:endParaRPr sz="4050">
              <a:solidFill>
                <a:srgbClr val="000000"/>
              </a:solidFill>
              <a:latin typeface="Nunito Sans Black" pitchFamily="2" charset="77"/>
              <a:ea typeface="Nunito Sans Black" charset="0"/>
              <a:cs typeface="Nunito Sans Black" charset="0"/>
            </a:endParaRPr>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27734498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1_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86947670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268816928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335626358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1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233805024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solidFill>
                  <a:srgbClr val="000000"/>
                </a:solidFill>
              </a:rPr>
              <a:t>18/02/2018</a:t>
            </a:r>
            <a:endParaRPr lang="mr-IN">
              <a:solidFill>
                <a:srgbClr val="000000"/>
              </a:solidFill>
            </a:endParaRPr>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316711368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162094327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13402026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33" name="Picture 3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209694722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76724723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362042545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114912800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407893687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FFFFFF"/>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FFFFFF"/>
                </a:solidFill>
                <a:latin typeface="Nunito Sans Black" charset="0"/>
                <a:ea typeface="Nunito Sans Black" charset="0"/>
                <a:cs typeface="Nunito Sans Black" charset="0"/>
              </a:rPr>
              <a:t>Do </a:t>
            </a:r>
            <a:r>
              <a:rPr>
                <a:solidFill>
                  <a:srgbClr val="FFFFFF"/>
                </a:solidFill>
                <a:latin typeface="Nunito Sans Black" charset="0"/>
                <a:ea typeface="Nunito Sans Black" charset="0"/>
                <a:cs typeface="Nunito Sans Black" charset="0"/>
              </a:rPr>
              <a:t>more. Share more. </a:t>
            </a:r>
            <a:r>
              <a:rPr spc="-34">
                <a:solidFill>
                  <a:srgbClr val="FFFFFF"/>
                </a:solidFill>
                <a:latin typeface="Nunito Sans Black" charset="0"/>
                <a:ea typeface="Nunito Sans Black" charset="0"/>
                <a:cs typeface="Nunito Sans Black" charset="0"/>
              </a:rPr>
              <a:t>Be</a:t>
            </a:r>
            <a:r>
              <a:rPr spc="-11">
                <a:solidFill>
                  <a:srgbClr val="FFFFFF"/>
                </a:solidFill>
                <a:latin typeface="Nunito Sans Black" charset="0"/>
                <a:ea typeface="Nunito Sans Black" charset="0"/>
                <a:cs typeface="Nunito Sans Black" charset="0"/>
              </a:rPr>
              <a:t> </a:t>
            </a:r>
            <a:r>
              <a:rPr>
                <a:solidFill>
                  <a:srgbClr val="FFFFFF"/>
                </a:solidFill>
                <a:latin typeface="Nunito Sans Black" charset="0"/>
                <a:ea typeface="Nunito Sans Black" charset="0"/>
                <a:cs typeface="Nunito Sans Black" charset="0"/>
              </a:rPr>
              <a:t>more.</a:t>
            </a:r>
            <a:endParaRPr>
              <a:solidFill>
                <a:srgbClr val="000000"/>
              </a:solidFill>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412578985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FFFFFF"/>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FFFFFF"/>
                </a:solidFill>
                <a:latin typeface="Nunito Sans Black" charset="0"/>
                <a:ea typeface="Nunito Sans Black" charset="0"/>
                <a:cs typeface="Nunito Sans Black" charset="0"/>
              </a:rPr>
              <a:t>Do </a:t>
            </a:r>
            <a:r>
              <a:rPr>
                <a:solidFill>
                  <a:srgbClr val="FFFFFF"/>
                </a:solidFill>
                <a:latin typeface="Nunito Sans Black" charset="0"/>
                <a:ea typeface="Nunito Sans Black" charset="0"/>
                <a:cs typeface="Nunito Sans Black" charset="0"/>
              </a:rPr>
              <a:t>more. Share more. </a:t>
            </a:r>
            <a:r>
              <a:rPr spc="-34">
                <a:solidFill>
                  <a:srgbClr val="FFFFFF"/>
                </a:solidFill>
                <a:latin typeface="Nunito Sans Black" charset="0"/>
                <a:ea typeface="Nunito Sans Black" charset="0"/>
                <a:cs typeface="Nunito Sans Black" charset="0"/>
              </a:rPr>
              <a:t>Be</a:t>
            </a:r>
            <a:r>
              <a:rPr spc="-11">
                <a:solidFill>
                  <a:srgbClr val="FFFFFF"/>
                </a:solidFill>
                <a:latin typeface="Nunito Sans Black" charset="0"/>
                <a:ea typeface="Nunito Sans Black" charset="0"/>
                <a:cs typeface="Nunito Sans Black" charset="0"/>
              </a:rPr>
              <a:t> </a:t>
            </a:r>
            <a:r>
              <a:rPr>
                <a:solidFill>
                  <a:srgbClr val="FFFFFF"/>
                </a:solidFill>
                <a:latin typeface="Nunito Sans Black" charset="0"/>
                <a:ea typeface="Nunito Sans Black" charset="0"/>
                <a:cs typeface="Nunito Sans Black" charset="0"/>
              </a:rPr>
              <a:t>more.</a:t>
            </a:r>
            <a:endParaRPr>
              <a:solidFill>
                <a:srgbClr val="000000"/>
              </a:solidFill>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379451845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000000"/>
                </a:solidFill>
                <a:latin typeface="Nunito Sans Black" charset="0"/>
                <a:ea typeface="Nunito Sans Black" charset="0"/>
                <a:cs typeface="Nunito Sans Black" charset="0"/>
              </a:rPr>
              <a:t>Do </a:t>
            </a:r>
            <a:r>
              <a:rPr>
                <a:solidFill>
                  <a:srgbClr val="000000"/>
                </a:solidFill>
                <a:latin typeface="Nunito Sans Black" charset="0"/>
                <a:ea typeface="Nunito Sans Black" charset="0"/>
                <a:cs typeface="Nunito Sans Black" charset="0"/>
              </a:rPr>
              <a:t>more. Share more. </a:t>
            </a:r>
            <a:r>
              <a:rPr spc="-34">
                <a:solidFill>
                  <a:srgbClr val="000000"/>
                </a:solidFill>
                <a:latin typeface="Nunito Sans Black" charset="0"/>
                <a:ea typeface="Nunito Sans Black" charset="0"/>
                <a:cs typeface="Nunito Sans Black" charset="0"/>
              </a:rPr>
              <a:t>Be</a:t>
            </a:r>
            <a:r>
              <a:rPr spc="-11">
                <a:solidFill>
                  <a:srgbClr val="000000"/>
                </a:solidFill>
                <a:latin typeface="Nunito Sans Black" charset="0"/>
                <a:ea typeface="Nunito Sans Black" charset="0"/>
                <a:cs typeface="Nunito Sans Black" charset="0"/>
              </a:rPr>
              <a:t> </a:t>
            </a:r>
            <a:r>
              <a:rPr>
                <a:solidFill>
                  <a:srgbClr val="000000"/>
                </a:solidFill>
                <a:latin typeface="Nunito Sans Black" charset="0"/>
                <a:ea typeface="Nunito Sans Black" charset="0"/>
                <a:cs typeface="Nunito Sans Black" charset="0"/>
              </a:rPr>
              <a:t>more.</a:t>
            </a: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5168382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000000"/>
                </a:solidFill>
                <a:latin typeface="Nunito Sans Black" charset="0"/>
                <a:ea typeface="Nunito Sans Black" charset="0"/>
                <a:cs typeface="Nunito Sans Black" charset="0"/>
              </a:rPr>
              <a:t>Do </a:t>
            </a:r>
            <a:r>
              <a:rPr>
                <a:solidFill>
                  <a:srgbClr val="000000"/>
                </a:solidFill>
                <a:latin typeface="Nunito Sans Black" charset="0"/>
                <a:ea typeface="Nunito Sans Black" charset="0"/>
                <a:cs typeface="Nunito Sans Black" charset="0"/>
              </a:rPr>
              <a:t>more. Share more. </a:t>
            </a:r>
            <a:r>
              <a:rPr spc="-34">
                <a:solidFill>
                  <a:srgbClr val="000000"/>
                </a:solidFill>
                <a:latin typeface="Nunito Sans Black" charset="0"/>
                <a:ea typeface="Nunito Sans Black" charset="0"/>
                <a:cs typeface="Nunito Sans Black" charset="0"/>
              </a:rPr>
              <a:t>Be</a:t>
            </a:r>
            <a:r>
              <a:rPr spc="-11">
                <a:solidFill>
                  <a:srgbClr val="000000"/>
                </a:solidFill>
                <a:latin typeface="Nunito Sans Black" charset="0"/>
                <a:ea typeface="Nunito Sans Black" charset="0"/>
                <a:cs typeface="Nunito Sans Black" charset="0"/>
              </a:rPr>
              <a:t> </a:t>
            </a:r>
            <a:r>
              <a:rPr>
                <a:solidFill>
                  <a:srgbClr val="000000"/>
                </a:solidFill>
                <a:latin typeface="Nunito Sans Black" charset="0"/>
                <a:ea typeface="Nunito Sans Black" charset="0"/>
                <a:cs typeface="Nunito Sans Black" charset="0"/>
              </a:rPr>
              <a:t>more.</a:t>
            </a: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64379050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31955984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7059484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0F57CD9A-2D1D-7A4C-BF76-1884EF4102F3}"/>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hasCustomPrompt="1"/>
          </p:nvPr>
        </p:nvSpPr>
        <p:spPr>
          <a:xfrm>
            <a:off x="1158000" y="1620000"/>
            <a:ext cx="3780000" cy="4502943"/>
          </a:xfrm>
          <a:prstGeom prst="rect">
            <a:avLst/>
          </a:prstGeom>
        </p:spPr>
        <p:txBody>
          <a:bodyPr>
            <a:noAutofit/>
          </a:bodyPr>
          <a:lstStyle>
            <a:lvl1pPr marL="133200" marR="3810" indent="-122400" algn="l" defTabSz="685800" rtl="0" eaLnBrk="1" latinLnBrk="0" hangingPunct="1">
              <a:lnSpc>
                <a:spcPts val="1950"/>
              </a:lnSpc>
              <a:spcBef>
                <a:spcPts val="315"/>
              </a:spcBef>
              <a:buFont typeface="Arial" panose="020B0604020202020204" pitchFamily="34" charset="0"/>
              <a:buChar char="•"/>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Set the bullets</a:t>
            </a:r>
          </a:p>
        </p:txBody>
      </p:sp>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133680682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13277072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80184753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7" name="Picture 26">
            <a:extLst>
              <a:ext uri="{FF2B5EF4-FFF2-40B4-BE49-F238E27FC236}">
                <a16:creationId xmlns:a16="http://schemas.microsoft.com/office/drawing/2014/main" id="{41C61C70-6A4D-439C-8A89-8538802DC9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41434598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1_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279074253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0F57CD9A-2D1D-7A4C-BF76-1884EF4102F3}"/>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3" name="Text Placeholder 23"/>
          <p:cNvSpPr>
            <a:spLocks noGrp="1"/>
          </p:cNvSpPr>
          <p:nvPr>
            <p:ph type="body" sz="quarter" idx="10" hasCustomPrompt="1"/>
          </p:nvPr>
        </p:nvSpPr>
        <p:spPr>
          <a:xfrm>
            <a:off x="1158000" y="1620000"/>
            <a:ext cx="3780000" cy="4502943"/>
          </a:xfrm>
          <a:prstGeom prst="rect">
            <a:avLst/>
          </a:prstGeom>
        </p:spPr>
        <p:txBody>
          <a:bodyPr>
            <a:noAutofit/>
          </a:bodyPr>
          <a:lstStyle>
            <a:lvl1pPr marL="133200" marR="3810" indent="-122400" algn="l" defTabSz="685800" rtl="0" eaLnBrk="1" latinLnBrk="0" hangingPunct="1">
              <a:lnSpc>
                <a:spcPts val="1950"/>
              </a:lnSpc>
              <a:spcBef>
                <a:spcPts val="315"/>
              </a:spcBef>
              <a:buFont typeface="Arial" panose="020B0604020202020204" pitchFamily="34" charset="0"/>
              <a:buChar char="•"/>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Set the bullets</a:t>
            </a:r>
          </a:p>
        </p:txBody>
      </p:sp>
      <p:pic>
        <p:nvPicPr>
          <p:cNvPr id="26" name="Picture 2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154413887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95023112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47288809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17120697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405714555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38134723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69429046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044454343"/>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167673400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318902628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380285619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299417452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416283375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340501743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72060645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374393515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38784340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07818590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270116253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9935038"/>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2516950"/>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1260462284"/>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338439398"/>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84127579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320676567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pic>
        <p:nvPicPr>
          <p:cNvPr id="36" name="Picture 3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379343281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164535272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1821522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00763308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112843829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2_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692839916"/>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3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2351664398"/>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1_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solidFill>
                  <a:srgbClr val="000000"/>
                </a:solidFill>
              </a:rPr>
              <a:t>18/02/2018</a:t>
            </a:r>
            <a:endParaRPr lang="mr-IN">
              <a:solidFill>
                <a:srgbClr val="000000"/>
              </a:solidFill>
            </a:endParaRPr>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122491231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1_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225772713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1_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695593420"/>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1_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5" name="Picture 4">
            <a:extLst>
              <a:ext uri="{FF2B5EF4-FFF2-40B4-BE49-F238E27FC236}">
                <a16:creationId xmlns:a16="http://schemas.microsoft.com/office/drawing/2014/main" id="{CEBBA40D-165A-F453-E1BC-D4EDCF3CED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79443830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1_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5" name="Picture 4">
            <a:extLst>
              <a:ext uri="{FF2B5EF4-FFF2-40B4-BE49-F238E27FC236}">
                <a16:creationId xmlns:a16="http://schemas.microsoft.com/office/drawing/2014/main" id="{7A855269-D313-02F4-7003-BE0FEEBB16A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42995925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1_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5" name="Picture 4">
            <a:extLst>
              <a:ext uri="{FF2B5EF4-FFF2-40B4-BE49-F238E27FC236}">
                <a16:creationId xmlns:a16="http://schemas.microsoft.com/office/drawing/2014/main" id="{476C3509-7F27-A7F0-D739-F879172AD4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18892883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1_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4" name="Picture 3">
            <a:extLst>
              <a:ext uri="{FF2B5EF4-FFF2-40B4-BE49-F238E27FC236}">
                <a16:creationId xmlns:a16="http://schemas.microsoft.com/office/drawing/2014/main" id="{C5F5C8A3-3A20-3401-A16B-085737EC74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4678230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545087127"/>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000000"/>
                </a:solidFill>
                <a:latin typeface="Nunito Sans Black" charset="0"/>
                <a:ea typeface="Nunito Sans Black" charset="0"/>
                <a:cs typeface="Nunito Sans Black" charset="0"/>
              </a:rPr>
              <a:t>Do </a:t>
            </a:r>
            <a:r>
              <a:rPr>
                <a:solidFill>
                  <a:srgbClr val="000000"/>
                </a:solidFill>
                <a:latin typeface="Nunito Sans Black" charset="0"/>
                <a:ea typeface="Nunito Sans Black" charset="0"/>
                <a:cs typeface="Nunito Sans Black" charset="0"/>
              </a:rPr>
              <a:t>more. Share more. </a:t>
            </a:r>
            <a:r>
              <a:rPr spc="-34">
                <a:solidFill>
                  <a:srgbClr val="000000"/>
                </a:solidFill>
                <a:latin typeface="Nunito Sans Black" charset="0"/>
                <a:ea typeface="Nunito Sans Black" charset="0"/>
                <a:cs typeface="Nunito Sans Black" charset="0"/>
              </a:rPr>
              <a:t>Be</a:t>
            </a:r>
            <a:r>
              <a:rPr spc="-11">
                <a:solidFill>
                  <a:srgbClr val="000000"/>
                </a:solidFill>
                <a:latin typeface="Nunito Sans Black" charset="0"/>
                <a:ea typeface="Nunito Sans Black" charset="0"/>
                <a:cs typeface="Nunito Sans Black" charset="0"/>
              </a:rPr>
              <a:t> </a:t>
            </a:r>
            <a:r>
              <a:rPr>
                <a:solidFill>
                  <a:srgbClr val="000000"/>
                </a:solidFill>
                <a:latin typeface="Nunito Sans Black" charset="0"/>
                <a:ea typeface="Nunito Sans Black" charset="0"/>
                <a:cs typeface="Nunito Sans Black" charset="0"/>
              </a:rPr>
              <a:t>more.</a:t>
            </a: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523797C0-1387-9B6A-7C39-2B3817DED7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8308910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000000"/>
                </a:solidFill>
                <a:latin typeface="Nunito Sans Black" charset="0"/>
                <a:ea typeface="Nunito Sans Black" charset="0"/>
                <a:cs typeface="Nunito Sans Black" charset="0"/>
              </a:rPr>
              <a:t>Do </a:t>
            </a:r>
            <a:r>
              <a:rPr>
                <a:solidFill>
                  <a:srgbClr val="000000"/>
                </a:solidFill>
                <a:latin typeface="Nunito Sans Black" charset="0"/>
                <a:ea typeface="Nunito Sans Black" charset="0"/>
                <a:cs typeface="Nunito Sans Black" charset="0"/>
              </a:rPr>
              <a:t>more. Share more. </a:t>
            </a:r>
            <a:r>
              <a:rPr spc="-34">
                <a:solidFill>
                  <a:srgbClr val="000000"/>
                </a:solidFill>
                <a:latin typeface="Nunito Sans Black" charset="0"/>
                <a:ea typeface="Nunito Sans Black" charset="0"/>
                <a:cs typeface="Nunito Sans Black" charset="0"/>
              </a:rPr>
              <a:t>Be</a:t>
            </a:r>
            <a:r>
              <a:rPr spc="-11">
                <a:solidFill>
                  <a:srgbClr val="000000"/>
                </a:solidFill>
                <a:latin typeface="Nunito Sans Black" charset="0"/>
                <a:ea typeface="Nunito Sans Black" charset="0"/>
                <a:cs typeface="Nunito Sans Black" charset="0"/>
              </a:rPr>
              <a:t> </a:t>
            </a:r>
            <a:r>
              <a:rPr>
                <a:solidFill>
                  <a:srgbClr val="000000"/>
                </a:solidFill>
                <a:latin typeface="Nunito Sans Black" charset="0"/>
                <a:ea typeface="Nunito Sans Black" charset="0"/>
                <a:cs typeface="Nunito Sans Black" charset="0"/>
              </a:rPr>
              <a:t>more.</a:t>
            </a: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E8320A8B-59E3-9BDC-7207-6A5CBCAD31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501261741"/>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A6C3376C-7F39-9E3C-537E-94440A84F3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56412169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0C965A4B-3F85-87C5-1E6C-1D52BB4FF7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98807122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1_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C8BE37AC-C825-4D9C-3997-D855686178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848052552"/>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1_•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202C14BD-3BF1-6332-98B6-7777AFE073F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66929172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2_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7" name="bk object 16">
            <a:extLst>
              <a:ext uri="{FF2B5EF4-FFF2-40B4-BE49-F238E27FC236}">
                <a16:creationId xmlns:a16="http://schemas.microsoft.com/office/drawing/2014/main" id="{AECD105E-E1DF-AE42-8BAA-43F6238D6D1B}"/>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68740493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EE25AA22-4B98-8D58-1CE6-102FDA54BE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84413220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366A0585-ECB7-2EE6-B897-9BA7B4594C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418841723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D0F6DC4-8842-DDBC-B47A-E4BD47C73EE7}"/>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25295136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257416875"/>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1_•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72D7B39-28DB-85E1-631E-2FC50D0FD13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46668149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descr="A picture containing text, clipart&#10;&#10;Description automatically generated">
            <a:extLst>
              <a:ext uri="{FF2B5EF4-FFF2-40B4-BE49-F238E27FC236}">
                <a16:creationId xmlns:a16="http://schemas.microsoft.com/office/drawing/2014/main" id="{A96A7085-8B91-4D6E-93A4-7F3CA22508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24905258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1_•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3C799A6F-9378-58EF-8FF1-760E84411D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59992718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1_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B66ECA4D-4FAB-79C4-E991-0E8042CCC5AF}"/>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286895827"/>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1_•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DACEF503-FE3D-930F-20D4-F29FB1FD76B2}"/>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53805811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1_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2653B8A1-77B4-7E61-5525-FEA2512171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54507097"/>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1_•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FCE6BB38-89E3-C779-B588-C4F68F22D7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601423982"/>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68810608-6CBA-A1D5-68F0-D57726D2BAC6}"/>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32362086"/>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26379A07-702F-6296-4124-FA1EC54A2A9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735711756"/>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descr="A picture containing text, clipart&#10;&#10;Description automatically generated">
            <a:extLst>
              <a:ext uri="{FF2B5EF4-FFF2-40B4-BE49-F238E27FC236}">
                <a16:creationId xmlns:a16="http://schemas.microsoft.com/office/drawing/2014/main" id="{19AE63CF-F8E0-B62A-A454-5CD970D672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67969350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66633764"/>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D76E21B-7A12-E8FC-ACD0-4224675D19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503649438"/>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46F6B83-9636-E9CC-E17D-2F4B8BA9D5D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965367262"/>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94F44C7-F913-747C-CC1F-29A512CF50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119503701"/>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1_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bk object 16">
            <a:extLst>
              <a:ext uri="{FF2B5EF4-FFF2-40B4-BE49-F238E27FC236}">
                <a16:creationId xmlns:a16="http://schemas.microsoft.com/office/drawing/2014/main" id="{ABC8B010-0BF7-170A-306A-AE0E8BBBAF30}"/>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2059819809"/>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1_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descr="A picture containing text, clipart&#10;&#10;Description automatically generated">
            <a:extLst>
              <a:ext uri="{FF2B5EF4-FFF2-40B4-BE49-F238E27FC236}">
                <a16:creationId xmlns:a16="http://schemas.microsoft.com/office/drawing/2014/main" id="{A8DD76FE-99CC-21D1-31B3-9BD8058CF4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17102821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F52E34B-502E-D3C3-6197-80AB05CA21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468639735"/>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61CE8824-540D-DFBA-31D3-900593369C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574716782"/>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4" name="Picture 3" descr="A picture containing text, clipart&#10;&#10;Description automatically generated">
            <a:extLst>
              <a:ext uri="{FF2B5EF4-FFF2-40B4-BE49-F238E27FC236}">
                <a16:creationId xmlns:a16="http://schemas.microsoft.com/office/drawing/2014/main" id="{527B2328-A2F8-BF70-040E-6FE14398A0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91192212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1_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sp>
        <p:nvSpPr>
          <p:cNvPr id="4" name="bk object 16">
            <a:extLst>
              <a:ext uri="{FF2B5EF4-FFF2-40B4-BE49-F238E27FC236}">
                <a16:creationId xmlns:a16="http://schemas.microsoft.com/office/drawing/2014/main" id="{7C4633AF-C8C5-975A-1DC2-0BF423A76DF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192441298"/>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1_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 name="bk object 16">
            <a:extLst>
              <a:ext uri="{FF2B5EF4-FFF2-40B4-BE49-F238E27FC236}">
                <a16:creationId xmlns:a16="http://schemas.microsoft.com/office/drawing/2014/main" id="{07D06058-67AE-0C33-827D-D4CEB61ABED4}"/>
              </a:ext>
            </a:extLst>
          </p:cNvPr>
          <p:cNvSpPr/>
          <p:nvPr userDrawn="1"/>
        </p:nvSpPr>
        <p:spPr>
          <a:xfrm>
            <a:off x="10084689" y="360617"/>
            <a:ext cx="1745932" cy="492061"/>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8082834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103040203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1_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 name="bk object 16">
            <a:extLst>
              <a:ext uri="{FF2B5EF4-FFF2-40B4-BE49-F238E27FC236}">
                <a16:creationId xmlns:a16="http://schemas.microsoft.com/office/drawing/2014/main" id="{6DF035AD-312B-6056-E925-E62F9BE2678E}"/>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91572251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1_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990943270"/>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Blank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Tree>
    <p:extLst>
      <p:ext uri="{BB962C8B-B14F-4D97-AF65-F5344CB8AC3E}">
        <p14:creationId xmlns:p14="http://schemas.microsoft.com/office/powerpoint/2010/main" val="3091661898"/>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Blank whi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Tree>
    <p:extLst>
      <p:ext uri="{BB962C8B-B14F-4D97-AF65-F5344CB8AC3E}">
        <p14:creationId xmlns:p14="http://schemas.microsoft.com/office/powerpoint/2010/main" val="1473005318"/>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srgbClr val="000000">
                  <a:tint val="75000"/>
                </a:srgb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solidFill>
                  <a:srgbClr val="000000">
                    <a:tint val="75000"/>
                  </a:srgbClr>
                </a:solidFill>
              </a:rPr>
              <a:pPr/>
              <a:t>10/31/2023</a:t>
            </a:fld>
            <a:endParaRPr>
              <a:solidFill>
                <a:srgbClr val="000000">
                  <a:tint val="75000"/>
                </a:srgbClr>
              </a:solidFill>
            </a:endParaRPr>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spcBef>
                <a:spcPts val="83"/>
              </a:spcBef>
            </a:pPr>
            <a:r>
              <a:rPr>
                <a:solidFill>
                  <a:srgbClr val="000000"/>
                </a:solidFill>
              </a:rPr>
              <a:t>Page </a:t>
            </a:r>
            <a:fld id="{81D60167-4931-47E6-BA6A-407CBD079E47}" type="slidenum">
              <a:rPr dirty="0">
                <a:solidFill>
                  <a:srgbClr val="000000"/>
                </a:solidFill>
              </a:rPr>
              <a:pPr marL="66675">
                <a:spcBef>
                  <a:spcPts val="83"/>
                </a:spcBef>
              </a:pPr>
              <a:t>‹#›</a:t>
            </a:fld>
            <a:r>
              <a:rPr>
                <a:solidFill>
                  <a:srgbClr val="000000"/>
                </a:solidFill>
              </a:rPr>
              <a:t> of</a:t>
            </a:r>
            <a:r>
              <a:rPr spc="-71">
                <a:solidFill>
                  <a:srgbClr val="000000"/>
                </a:solidFill>
              </a:rPr>
              <a:t> </a:t>
            </a:r>
            <a:r>
              <a:rPr>
                <a:solidFill>
                  <a:srgbClr val="000000"/>
                </a:solidFill>
              </a:rPr>
              <a:t>33</a:t>
            </a:r>
          </a:p>
        </p:txBody>
      </p:sp>
    </p:spTree>
    <p:extLst>
      <p:ext uri="{BB962C8B-B14F-4D97-AF65-F5344CB8AC3E}">
        <p14:creationId xmlns:p14="http://schemas.microsoft.com/office/powerpoint/2010/main" val="981990161"/>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type="obj">
  <p:cSld name="1_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srgbClr val="000000">
                  <a:tint val="75000"/>
                </a:srgb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solidFill>
                  <a:srgbClr val="000000">
                    <a:tint val="75000"/>
                  </a:srgbClr>
                </a:solidFill>
              </a:rPr>
              <a:pPr/>
              <a:t>10/31/2023</a:t>
            </a:fld>
            <a:endParaRPr>
              <a:solidFill>
                <a:srgbClr val="000000">
                  <a:tint val="75000"/>
                </a:srgbClr>
              </a:solidFill>
            </a:endParaRPr>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spcBef>
                <a:spcPts val="83"/>
              </a:spcBef>
            </a:pPr>
            <a:r>
              <a:rPr>
                <a:solidFill>
                  <a:srgbClr val="000000"/>
                </a:solidFill>
              </a:rPr>
              <a:t>Page </a:t>
            </a:r>
            <a:fld id="{81D60167-4931-47E6-BA6A-407CBD079E47}" type="slidenum">
              <a:rPr dirty="0">
                <a:solidFill>
                  <a:srgbClr val="000000"/>
                </a:solidFill>
              </a:rPr>
              <a:pPr marL="66675">
                <a:spcBef>
                  <a:spcPts val="83"/>
                </a:spcBef>
              </a:pPr>
              <a:t>‹#›</a:t>
            </a:fld>
            <a:r>
              <a:rPr>
                <a:solidFill>
                  <a:srgbClr val="000000"/>
                </a:solidFill>
              </a:rPr>
              <a:t> of</a:t>
            </a:r>
            <a:r>
              <a:rPr spc="-71">
                <a:solidFill>
                  <a:srgbClr val="000000"/>
                </a:solidFill>
              </a:rPr>
              <a:t> </a:t>
            </a:r>
            <a:r>
              <a:rPr>
                <a:solidFill>
                  <a:srgbClr val="000000"/>
                </a:solidFill>
              </a:rPr>
              <a:t>33</a:t>
            </a:r>
          </a:p>
        </p:txBody>
      </p:sp>
      <p:sp>
        <p:nvSpPr>
          <p:cNvPr id="5" name="bk object 16">
            <a:extLst>
              <a:ext uri="{FF2B5EF4-FFF2-40B4-BE49-F238E27FC236}">
                <a16:creationId xmlns:a16="http://schemas.microsoft.com/office/drawing/2014/main" id="{9973E9CF-844F-FFF6-A27C-71FF428B66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40460000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00">
              <a:spcBef>
                <a:spcPts val="300"/>
              </a:spcBef>
              <a:spcAft>
                <a:spcPts val="300"/>
              </a:spcAft>
            </a:pPr>
            <a:endParaRPr lang="en-US" sz="2500" b="1">
              <a:solidFill>
                <a:srgbClr val="FFFFFF"/>
              </a:solidFill>
              <a:latin typeface="Arial" panose="020B0604020202020204" pitchFamily="34" charset="0"/>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794326" y="637721"/>
            <a:ext cx="1084293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000000"/>
                </a:solidFill>
                <a:cs typeface="Arial" panose="020B0604020202020204" pitchFamily="34" charset="0"/>
              </a:rPr>
              <a:pPr algn="r" defTabSz="610744">
                <a:defRPr/>
              </a:pPr>
              <a:t>‹#›</a:t>
            </a:fld>
            <a:endParaRPr lang="en-US" sz="900">
              <a:solidFill>
                <a:srgbClr val="000000"/>
              </a:solidFill>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794326"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400"/>
            <a:r>
              <a:rPr lang="en-US">
                <a:solidFill>
                  <a:srgbClr val="000000"/>
                </a:solidFill>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794326"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794326" y="172212"/>
            <a:ext cx="10842937"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7533098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34051003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26972553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34898962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19416803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34227794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8" name="Text Placeholder 7">
            <a:extLst>
              <a:ext uri="{FF2B5EF4-FFF2-40B4-BE49-F238E27FC236}">
                <a16:creationId xmlns:a16="http://schemas.microsoft.com/office/drawing/2014/main" id="{B9BF7824-4379-834E-86BB-B51DDD0B2DAC}"/>
              </a:ext>
            </a:extLst>
          </p:cNvPr>
          <p:cNvSpPr>
            <a:spLocks noGrp="1"/>
          </p:cNvSpPr>
          <p:nvPr>
            <p:ph type="body" sz="quarter" idx="10" hasCustomPrompt="1"/>
          </p:nvPr>
        </p:nvSpPr>
        <p:spPr>
          <a:xfrm>
            <a:off x="1981338" y="4569517"/>
            <a:ext cx="8229325" cy="1019175"/>
          </a:xfrm>
        </p:spPr>
        <p:txBody>
          <a:bodyPr>
            <a:noAutofit/>
          </a:bodyPr>
          <a:lstStyle>
            <a:lvl1pPr marL="0" indent="0" algn="ctr" defTabSz="685800" rtl="0" eaLnBrk="1" latinLnBrk="0" hangingPunct="1">
              <a:buNone/>
              <a:defRPr lang="en-US" sz="4050" b="0" kern="1200" dirty="0" smtClean="0">
                <a:solidFill>
                  <a:schemeClr val="bg1"/>
                </a:solidFill>
                <a:latin typeface="Nunito Sans Black" panose="00000A00000000000000" pitchFamily="2" charset="0"/>
                <a:ea typeface="+mn-ea"/>
                <a:cs typeface="+mn-cs"/>
              </a:defRPr>
            </a:lvl1pPr>
          </a:lstStyle>
          <a:p>
            <a:pPr lvl="0"/>
            <a:r>
              <a:rPr lang="en-US"/>
              <a:t>Insert name here</a:t>
            </a:r>
          </a:p>
        </p:txBody>
      </p:sp>
      <p:pic>
        <p:nvPicPr>
          <p:cNvPr id="32" name="Picture 3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02191" y="1581152"/>
            <a:ext cx="3787619" cy="2766176"/>
          </a:xfrm>
          <a:prstGeom prst="rect">
            <a:avLst/>
          </a:prstGeom>
        </p:spPr>
      </p:pic>
    </p:spTree>
    <p:extLst>
      <p:ext uri="{BB962C8B-B14F-4D97-AF65-F5344CB8AC3E}">
        <p14:creationId xmlns:p14="http://schemas.microsoft.com/office/powerpoint/2010/main" val="6094524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4992902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9401994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7078382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6854556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7" y="360363"/>
            <a:ext cx="1745790" cy="492321"/>
          </a:xfrm>
          <a:prstGeom prst="rect">
            <a:avLst/>
          </a:prstGeom>
        </p:spPr>
      </p:pic>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85458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7" y="360363"/>
            <a:ext cx="1745790" cy="492320"/>
          </a:xfrm>
          <a:prstGeom prst="rect">
            <a:avLst/>
          </a:prstGeom>
        </p:spPr>
      </p:pic>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60889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11624518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42654173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28494331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4050095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9" name="object 2"/>
          <p:cNvSpPr txBox="1"/>
          <p:nvPr userDrawn="1"/>
        </p:nvSpPr>
        <p:spPr>
          <a:xfrm>
            <a:off x="2266950" y="4034726"/>
            <a:ext cx="2558415" cy="632866"/>
          </a:xfrm>
          <a:prstGeom prst="rect">
            <a:avLst/>
          </a:prstGeom>
        </p:spPr>
        <p:txBody>
          <a:bodyPr vert="horz" wrap="square" lIns="0" tIns="9525" rIns="0" bIns="0" rtlCol="0">
            <a:spAutoFit/>
          </a:bodyPr>
          <a:lstStyle/>
          <a:p>
            <a:pPr marL="9525">
              <a:lnSpc>
                <a:spcPct val="100000"/>
              </a:lnSpc>
              <a:spcBef>
                <a:spcPts val="75"/>
              </a:spcBef>
            </a:pPr>
            <a:r>
              <a:rPr sz="4050" b="0" i="0" spc="-4">
                <a:solidFill>
                  <a:srgbClr val="FFFFFF"/>
                </a:solidFill>
                <a:latin typeface="Nunito Sans Black" pitchFamily="2" charset="77"/>
                <a:ea typeface="Nunito Sans Black" charset="0"/>
                <a:cs typeface="Nunito Sans Black" charset="0"/>
              </a:rPr>
              <a:t>Thank</a:t>
            </a:r>
            <a:r>
              <a:rPr sz="4050" b="0" i="0" spc="-30">
                <a:solidFill>
                  <a:srgbClr val="FFFFFF"/>
                </a:solidFill>
                <a:latin typeface="Nunito Sans Black" pitchFamily="2" charset="77"/>
                <a:ea typeface="Nunito Sans Black" charset="0"/>
                <a:cs typeface="Nunito Sans Black" charset="0"/>
              </a:rPr>
              <a:t> </a:t>
            </a:r>
            <a:r>
              <a:rPr sz="4050" b="0" i="0" spc="-98">
                <a:solidFill>
                  <a:srgbClr val="FFFFFF"/>
                </a:solidFill>
                <a:latin typeface="Nunito Sans Black" pitchFamily="2" charset="77"/>
                <a:ea typeface="Nunito Sans Black" charset="0"/>
                <a:cs typeface="Nunito Sans Black" charset="0"/>
              </a:rPr>
              <a:t>you</a:t>
            </a:r>
            <a:endParaRPr sz="4050" b="0" i="0">
              <a:latin typeface="Nunito Sans Black" pitchFamily="2" charset="77"/>
              <a:ea typeface="Nunito Sans Black" charset="0"/>
              <a:cs typeface="Nunito Sans Black" charset="0"/>
            </a:endParaRPr>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11822979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pic>
        <p:nvPicPr>
          <p:cNvPr id="36" name="Picture 3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10476294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pic>
        <p:nvPicPr>
          <p:cNvPr id="33" name="Picture 3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4528733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4767667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1520627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8609647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4064604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t>18/02/2018</a:t>
            </a:r>
            <a:endParaRPr lang="mr-IN"/>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9060626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8170870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CEBBA40D-165A-F453-E1BC-D4EDCF3CED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4477066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118229792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7A855269-D313-02F4-7003-BE0FEEBB16A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8055882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476C3509-7F27-A7F0-D739-F879172AD4D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1452437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4" name="Picture 3">
            <a:extLst>
              <a:ext uri="{FF2B5EF4-FFF2-40B4-BE49-F238E27FC236}">
                <a16:creationId xmlns:a16="http://schemas.microsoft.com/office/drawing/2014/main" id="{C5F5C8A3-3A20-3401-A16B-085737EC74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848646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2" name="Picture 3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44770663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8055882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3145243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848646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169106737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218640740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523797C0-1387-9B6A-7C39-2B3817DED7D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6932283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a:extLst>
              <a:ext uri="{28A0092B-C50C-407E-A947-70E740481C1C}">
                <a14:useLocalDpi xmlns:a14="http://schemas.microsoft.com/office/drawing/2010/main" val="0"/>
              </a:ext>
            </a:extLst>
          </a:blip>
          <a:srcRect l="21449" r="21449" b="35521"/>
          <a:stretch/>
        </p:blipFill>
        <p:spPr>
          <a:xfrm>
            <a:off x="2846663" y="852689"/>
            <a:ext cx="6498674" cy="5359268"/>
          </a:xfrm>
          <a:prstGeom prst="rect">
            <a:avLst/>
          </a:prstGeom>
        </p:spPr>
      </p:pic>
    </p:spTree>
    <p:extLst>
      <p:ext uri="{BB962C8B-B14F-4D97-AF65-F5344CB8AC3E}">
        <p14:creationId xmlns:p14="http://schemas.microsoft.com/office/powerpoint/2010/main" val="15206270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E8320A8B-59E3-9BDC-7207-6A5CBCAD310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8301665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A6C3376C-7F39-9E3C-537E-94440A84F3A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8624815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0C965A4B-3F85-87C5-1E6C-1D52BB4FF7F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5261276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C8BE37AC-C825-4D9C-3997-D8556861784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60757936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202C14BD-3BF1-6332-98B6-7777AFE073F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9428750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69322834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83016654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8624815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52612768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6075793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13" name="Picture 12"/>
          <p:cNvPicPr>
            <a:picLocks noChangeAspect="1"/>
          </p:cNvPicPr>
          <p:nvPr userDrawn="1"/>
        </p:nvPicPr>
        <p:blipFill rotWithShape="1">
          <a:blip r:embed="rId2">
            <a:extLst>
              <a:ext uri="{28A0092B-C50C-407E-A947-70E740481C1C}">
                <a14:useLocalDpi xmlns:a14="http://schemas.microsoft.com/office/drawing/2010/main" val="0"/>
              </a:ext>
            </a:extLst>
          </a:blip>
          <a:srcRect l="21449" r="21449" b="35521"/>
          <a:stretch/>
        </p:blipFill>
        <p:spPr>
          <a:xfrm>
            <a:off x="2846663" y="852689"/>
            <a:ext cx="6498674" cy="5359268"/>
          </a:xfrm>
          <a:prstGeom prst="rect">
            <a:avLst/>
          </a:prstGeom>
        </p:spPr>
      </p:pic>
    </p:spTree>
    <p:extLst>
      <p:ext uri="{BB962C8B-B14F-4D97-AF65-F5344CB8AC3E}">
        <p14:creationId xmlns:p14="http://schemas.microsoft.com/office/powerpoint/2010/main" val="86096471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94287508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7" name="bk object 16">
            <a:extLst>
              <a:ext uri="{FF2B5EF4-FFF2-40B4-BE49-F238E27FC236}">
                <a16:creationId xmlns:a16="http://schemas.microsoft.com/office/drawing/2014/main" id="{AECD105E-E1DF-AE42-8BAA-43F6238D6D1B}"/>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209694722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7" name="Picture 26">
            <a:extLst>
              <a:ext uri="{FF2B5EF4-FFF2-40B4-BE49-F238E27FC236}">
                <a16:creationId xmlns:a16="http://schemas.microsoft.com/office/drawing/2014/main" id="{41C61C70-6A4D-439C-8A89-8538802DC9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09694722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209694722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0F57CD9A-2D1D-7A4C-BF76-1884EF4102F3}"/>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hasCustomPrompt="1"/>
          </p:nvPr>
        </p:nvSpPr>
        <p:spPr>
          <a:xfrm>
            <a:off x="1158000" y="1620000"/>
            <a:ext cx="3780000" cy="4502943"/>
          </a:xfrm>
          <a:prstGeom prst="rect">
            <a:avLst/>
          </a:prstGeom>
        </p:spPr>
        <p:txBody>
          <a:bodyPr>
            <a:noAutofit/>
          </a:bodyPr>
          <a:lstStyle>
            <a:lvl1pPr marL="133200" marR="3810" indent="-122400" algn="l" defTabSz="685800" rtl="0" eaLnBrk="1" latinLnBrk="0" hangingPunct="1">
              <a:lnSpc>
                <a:spcPts val="1950"/>
              </a:lnSpc>
              <a:spcBef>
                <a:spcPts val="315"/>
              </a:spcBef>
              <a:buFont typeface="Arial" panose="020B0604020202020204" pitchFamily="34" charset="0"/>
              <a:buChar char="•"/>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Set the bullets</a:t>
            </a:r>
          </a:p>
        </p:txBody>
      </p:sp>
      <p:pic>
        <p:nvPicPr>
          <p:cNvPr id="26" name="Picture 2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133680682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EE25AA22-4B98-8D58-1CE6-102FDA54BE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69429046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366A0585-ECB7-2EE6-B897-9BA7B4594C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7818590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D0F6DC4-8842-DDBC-B47A-E4BD47C73EE7}"/>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0763308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72D7B39-28DB-85E1-631E-2FC50D0FD13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54508712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descr="A picture containing text, clipart&#10;&#10;Description automatically generated">
            <a:extLst>
              <a:ext uri="{FF2B5EF4-FFF2-40B4-BE49-F238E27FC236}">
                <a16:creationId xmlns:a16="http://schemas.microsoft.com/office/drawing/2014/main" id="{A96A7085-8B91-4D6E-93A4-7F3CA22508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2574168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4064604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3C799A6F-9378-58EF-8FF1-760E84411D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6663376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B66ECA4D-4FAB-79C4-E991-0E8042CCC5AF}"/>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3040203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DACEF503-FE3D-930F-20D4-F29FB1FD76B2}"/>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40510030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2653B8A1-77B4-7E61-5525-FEA25121714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6972553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FCE6BB38-89E3-C779-B588-C4F68F22D78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48989620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68810608-6CBA-A1D5-68F0-D57726D2BAC6}"/>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94168037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26379A07-702F-6296-4124-FA1EC54A2A9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42277942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descr="A picture containing text, clipart&#10;&#10;Description automatically generated">
            <a:extLst>
              <a:ext uri="{FF2B5EF4-FFF2-40B4-BE49-F238E27FC236}">
                <a16:creationId xmlns:a16="http://schemas.microsoft.com/office/drawing/2014/main" id="{19AE63CF-F8E0-B62A-A454-5CD970D6722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49929022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D76E21B-7A12-E8FC-ACD0-4224675D192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94019943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46F6B83-9636-E9CC-E17D-2F4B8BA9D5D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707838277"/>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28" Type="http://schemas.openxmlformats.org/officeDocument/2006/relationships/slideLayout" Target="../slideLayouts/slideLayout128.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34" Type="http://schemas.openxmlformats.org/officeDocument/2006/relationships/slideLayout" Target="../slideLayouts/slideLayout134.xml"/><Relationship Id="rId139" Type="http://schemas.openxmlformats.org/officeDocument/2006/relationships/slideLayout" Target="../slideLayouts/slideLayout13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4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theme" Target="../theme/theme2.x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2" Type="http://schemas.openxmlformats.org/officeDocument/2006/relationships/slideLayout" Target="../slideLayouts/slideLayout141.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0" Type="http://schemas.openxmlformats.org/officeDocument/2006/relationships/slideLayout" Target="../slideLayouts/slideLayout149.xml"/><Relationship Id="rId4" Type="http://schemas.openxmlformats.org/officeDocument/2006/relationships/slideLayout" Target="../slideLayouts/slideLayout143.xml"/><Relationship Id="rId9" Type="http://schemas.openxmlformats.org/officeDocument/2006/relationships/slideLayout" Target="../slideLayouts/slideLayout148.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77.xml"/><Relationship Id="rId21" Type="http://schemas.openxmlformats.org/officeDocument/2006/relationships/slideLayout" Target="../slideLayouts/slideLayout172.xml"/><Relationship Id="rId42" Type="http://schemas.openxmlformats.org/officeDocument/2006/relationships/slideLayout" Target="../slideLayouts/slideLayout193.xml"/><Relationship Id="rId47" Type="http://schemas.openxmlformats.org/officeDocument/2006/relationships/slideLayout" Target="../slideLayouts/slideLayout198.xml"/><Relationship Id="rId63" Type="http://schemas.openxmlformats.org/officeDocument/2006/relationships/slideLayout" Target="../slideLayouts/slideLayout214.xml"/><Relationship Id="rId68" Type="http://schemas.openxmlformats.org/officeDocument/2006/relationships/slideLayout" Target="../slideLayouts/slideLayout219.xml"/><Relationship Id="rId84" Type="http://schemas.openxmlformats.org/officeDocument/2006/relationships/slideLayout" Target="../slideLayouts/slideLayout235.xml"/><Relationship Id="rId89" Type="http://schemas.openxmlformats.org/officeDocument/2006/relationships/slideLayout" Target="../slideLayouts/slideLayout240.xml"/><Relationship Id="rId16" Type="http://schemas.openxmlformats.org/officeDocument/2006/relationships/slideLayout" Target="../slideLayouts/slideLayout167.xml"/><Relationship Id="rId11" Type="http://schemas.openxmlformats.org/officeDocument/2006/relationships/slideLayout" Target="../slideLayouts/slideLayout162.xml"/><Relationship Id="rId32" Type="http://schemas.openxmlformats.org/officeDocument/2006/relationships/slideLayout" Target="../slideLayouts/slideLayout183.xml"/><Relationship Id="rId37" Type="http://schemas.openxmlformats.org/officeDocument/2006/relationships/slideLayout" Target="../slideLayouts/slideLayout188.xml"/><Relationship Id="rId53" Type="http://schemas.openxmlformats.org/officeDocument/2006/relationships/slideLayout" Target="../slideLayouts/slideLayout204.xml"/><Relationship Id="rId58" Type="http://schemas.openxmlformats.org/officeDocument/2006/relationships/slideLayout" Target="../slideLayouts/slideLayout209.xml"/><Relationship Id="rId74" Type="http://schemas.openxmlformats.org/officeDocument/2006/relationships/slideLayout" Target="../slideLayouts/slideLayout225.xml"/><Relationship Id="rId79" Type="http://schemas.openxmlformats.org/officeDocument/2006/relationships/slideLayout" Target="../slideLayouts/slideLayout230.xml"/><Relationship Id="rId5" Type="http://schemas.openxmlformats.org/officeDocument/2006/relationships/slideLayout" Target="../slideLayouts/slideLayout156.xml"/><Relationship Id="rId90" Type="http://schemas.openxmlformats.org/officeDocument/2006/relationships/slideLayout" Target="../slideLayouts/slideLayout241.xml"/><Relationship Id="rId95" Type="http://schemas.openxmlformats.org/officeDocument/2006/relationships/slideLayout" Target="../slideLayouts/slideLayout246.xml"/><Relationship Id="rId22" Type="http://schemas.openxmlformats.org/officeDocument/2006/relationships/slideLayout" Target="../slideLayouts/slideLayout173.xml"/><Relationship Id="rId27" Type="http://schemas.openxmlformats.org/officeDocument/2006/relationships/slideLayout" Target="../slideLayouts/slideLayout178.xml"/><Relationship Id="rId43" Type="http://schemas.openxmlformats.org/officeDocument/2006/relationships/slideLayout" Target="../slideLayouts/slideLayout194.xml"/><Relationship Id="rId48" Type="http://schemas.openxmlformats.org/officeDocument/2006/relationships/slideLayout" Target="../slideLayouts/slideLayout199.xml"/><Relationship Id="rId64" Type="http://schemas.openxmlformats.org/officeDocument/2006/relationships/slideLayout" Target="../slideLayouts/slideLayout215.xml"/><Relationship Id="rId69" Type="http://schemas.openxmlformats.org/officeDocument/2006/relationships/slideLayout" Target="../slideLayouts/slideLayout220.xml"/><Relationship Id="rId80" Type="http://schemas.openxmlformats.org/officeDocument/2006/relationships/slideLayout" Target="../slideLayouts/slideLayout231.xml"/><Relationship Id="rId85" Type="http://schemas.openxmlformats.org/officeDocument/2006/relationships/slideLayout" Target="../slideLayouts/slideLayout236.xml"/><Relationship Id="rId3" Type="http://schemas.openxmlformats.org/officeDocument/2006/relationships/slideLayout" Target="../slideLayouts/slideLayout154.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33" Type="http://schemas.openxmlformats.org/officeDocument/2006/relationships/slideLayout" Target="../slideLayouts/slideLayout184.xml"/><Relationship Id="rId38" Type="http://schemas.openxmlformats.org/officeDocument/2006/relationships/slideLayout" Target="../slideLayouts/slideLayout189.xml"/><Relationship Id="rId46" Type="http://schemas.openxmlformats.org/officeDocument/2006/relationships/slideLayout" Target="../slideLayouts/slideLayout197.xml"/><Relationship Id="rId59" Type="http://schemas.openxmlformats.org/officeDocument/2006/relationships/slideLayout" Target="../slideLayouts/slideLayout210.xml"/><Relationship Id="rId67" Type="http://schemas.openxmlformats.org/officeDocument/2006/relationships/slideLayout" Target="../slideLayouts/slideLayout218.xml"/><Relationship Id="rId20" Type="http://schemas.openxmlformats.org/officeDocument/2006/relationships/slideLayout" Target="../slideLayouts/slideLayout171.xml"/><Relationship Id="rId41" Type="http://schemas.openxmlformats.org/officeDocument/2006/relationships/slideLayout" Target="../slideLayouts/slideLayout192.xml"/><Relationship Id="rId54" Type="http://schemas.openxmlformats.org/officeDocument/2006/relationships/slideLayout" Target="../slideLayouts/slideLayout205.xml"/><Relationship Id="rId62" Type="http://schemas.openxmlformats.org/officeDocument/2006/relationships/slideLayout" Target="../slideLayouts/slideLayout213.xml"/><Relationship Id="rId70" Type="http://schemas.openxmlformats.org/officeDocument/2006/relationships/slideLayout" Target="../slideLayouts/slideLayout221.xml"/><Relationship Id="rId75" Type="http://schemas.openxmlformats.org/officeDocument/2006/relationships/slideLayout" Target="../slideLayouts/slideLayout226.xml"/><Relationship Id="rId83" Type="http://schemas.openxmlformats.org/officeDocument/2006/relationships/slideLayout" Target="../slideLayouts/slideLayout234.xml"/><Relationship Id="rId88" Type="http://schemas.openxmlformats.org/officeDocument/2006/relationships/slideLayout" Target="../slideLayouts/slideLayout239.xml"/><Relationship Id="rId91" Type="http://schemas.openxmlformats.org/officeDocument/2006/relationships/slideLayout" Target="../slideLayouts/slideLayout242.xml"/><Relationship Id="rId96" Type="http://schemas.openxmlformats.org/officeDocument/2006/relationships/slideLayout" Target="../slideLayouts/slideLayout247.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slideLayout" Target="../slideLayouts/slideLayout179.xml"/><Relationship Id="rId36" Type="http://schemas.openxmlformats.org/officeDocument/2006/relationships/slideLayout" Target="../slideLayouts/slideLayout187.xml"/><Relationship Id="rId49" Type="http://schemas.openxmlformats.org/officeDocument/2006/relationships/slideLayout" Target="../slideLayouts/slideLayout200.xml"/><Relationship Id="rId57" Type="http://schemas.openxmlformats.org/officeDocument/2006/relationships/slideLayout" Target="../slideLayouts/slideLayout208.xml"/><Relationship Id="rId10" Type="http://schemas.openxmlformats.org/officeDocument/2006/relationships/slideLayout" Target="../slideLayouts/slideLayout161.xml"/><Relationship Id="rId31" Type="http://schemas.openxmlformats.org/officeDocument/2006/relationships/slideLayout" Target="../slideLayouts/slideLayout182.xml"/><Relationship Id="rId44" Type="http://schemas.openxmlformats.org/officeDocument/2006/relationships/slideLayout" Target="../slideLayouts/slideLayout195.xml"/><Relationship Id="rId52" Type="http://schemas.openxmlformats.org/officeDocument/2006/relationships/slideLayout" Target="../slideLayouts/slideLayout203.xml"/><Relationship Id="rId60" Type="http://schemas.openxmlformats.org/officeDocument/2006/relationships/slideLayout" Target="../slideLayouts/slideLayout211.xml"/><Relationship Id="rId65" Type="http://schemas.openxmlformats.org/officeDocument/2006/relationships/slideLayout" Target="../slideLayouts/slideLayout216.xml"/><Relationship Id="rId73" Type="http://schemas.openxmlformats.org/officeDocument/2006/relationships/slideLayout" Target="../slideLayouts/slideLayout224.xml"/><Relationship Id="rId78" Type="http://schemas.openxmlformats.org/officeDocument/2006/relationships/slideLayout" Target="../slideLayouts/slideLayout229.xml"/><Relationship Id="rId81" Type="http://schemas.openxmlformats.org/officeDocument/2006/relationships/slideLayout" Target="../slideLayouts/slideLayout232.xml"/><Relationship Id="rId86" Type="http://schemas.openxmlformats.org/officeDocument/2006/relationships/slideLayout" Target="../slideLayouts/slideLayout237.xml"/><Relationship Id="rId94" Type="http://schemas.openxmlformats.org/officeDocument/2006/relationships/slideLayout" Target="../slideLayouts/slideLayout245.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9" Type="http://schemas.openxmlformats.org/officeDocument/2006/relationships/slideLayout" Target="../slideLayouts/slideLayout190.xml"/><Relationship Id="rId34" Type="http://schemas.openxmlformats.org/officeDocument/2006/relationships/slideLayout" Target="../slideLayouts/slideLayout185.xml"/><Relationship Id="rId50" Type="http://schemas.openxmlformats.org/officeDocument/2006/relationships/slideLayout" Target="../slideLayouts/slideLayout201.xml"/><Relationship Id="rId55" Type="http://schemas.openxmlformats.org/officeDocument/2006/relationships/slideLayout" Target="../slideLayouts/slideLayout206.xml"/><Relationship Id="rId76" Type="http://schemas.openxmlformats.org/officeDocument/2006/relationships/slideLayout" Target="../slideLayouts/slideLayout227.xml"/><Relationship Id="rId97" Type="http://schemas.openxmlformats.org/officeDocument/2006/relationships/slideLayout" Target="../slideLayouts/slideLayout248.xml"/><Relationship Id="rId7" Type="http://schemas.openxmlformats.org/officeDocument/2006/relationships/slideLayout" Target="../slideLayouts/slideLayout158.xml"/><Relationship Id="rId71" Type="http://schemas.openxmlformats.org/officeDocument/2006/relationships/slideLayout" Target="../slideLayouts/slideLayout222.xml"/><Relationship Id="rId92" Type="http://schemas.openxmlformats.org/officeDocument/2006/relationships/slideLayout" Target="../slideLayouts/slideLayout243.xml"/><Relationship Id="rId2" Type="http://schemas.openxmlformats.org/officeDocument/2006/relationships/slideLayout" Target="../slideLayouts/slideLayout153.xml"/><Relationship Id="rId29" Type="http://schemas.openxmlformats.org/officeDocument/2006/relationships/slideLayout" Target="../slideLayouts/slideLayout180.xml"/><Relationship Id="rId24" Type="http://schemas.openxmlformats.org/officeDocument/2006/relationships/slideLayout" Target="../slideLayouts/slideLayout175.xml"/><Relationship Id="rId40" Type="http://schemas.openxmlformats.org/officeDocument/2006/relationships/slideLayout" Target="../slideLayouts/slideLayout191.xml"/><Relationship Id="rId45" Type="http://schemas.openxmlformats.org/officeDocument/2006/relationships/slideLayout" Target="../slideLayouts/slideLayout196.xml"/><Relationship Id="rId66" Type="http://schemas.openxmlformats.org/officeDocument/2006/relationships/slideLayout" Target="../slideLayouts/slideLayout217.xml"/><Relationship Id="rId87" Type="http://schemas.openxmlformats.org/officeDocument/2006/relationships/slideLayout" Target="../slideLayouts/slideLayout238.xml"/><Relationship Id="rId61" Type="http://schemas.openxmlformats.org/officeDocument/2006/relationships/slideLayout" Target="../slideLayouts/slideLayout212.xml"/><Relationship Id="rId82" Type="http://schemas.openxmlformats.org/officeDocument/2006/relationships/slideLayout" Target="../slideLayouts/slideLayout233.xml"/><Relationship Id="rId19" Type="http://schemas.openxmlformats.org/officeDocument/2006/relationships/slideLayout" Target="../slideLayouts/slideLayout170.xml"/><Relationship Id="rId14" Type="http://schemas.openxmlformats.org/officeDocument/2006/relationships/slideLayout" Target="../slideLayouts/slideLayout165.xml"/><Relationship Id="rId30" Type="http://schemas.openxmlformats.org/officeDocument/2006/relationships/slideLayout" Target="../slideLayouts/slideLayout181.xml"/><Relationship Id="rId35" Type="http://schemas.openxmlformats.org/officeDocument/2006/relationships/slideLayout" Target="../slideLayouts/slideLayout186.xml"/><Relationship Id="rId56" Type="http://schemas.openxmlformats.org/officeDocument/2006/relationships/slideLayout" Target="../slideLayouts/slideLayout207.xml"/><Relationship Id="rId77" Type="http://schemas.openxmlformats.org/officeDocument/2006/relationships/slideLayout" Target="../slideLayouts/slideLayout228.xml"/><Relationship Id="rId8" Type="http://schemas.openxmlformats.org/officeDocument/2006/relationships/slideLayout" Target="../slideLayouts/slideLayout159.xml"/><Relationship Id="rId51" Type="http://schemas.openxmlformats.org/officeDocument/2006/relationships/slideLayout" Target="../slideLayouts/slideLayout202.xml"/><Relationship Id="rId72" Type="http://schemas.openxmlformats.org/officeDocument/2006/relationships/slideLayout" Target="../slideLayouts/slideLayout223.xml"/><Relationship Id="rId93" Type="http://schemas.openxmlformats.org/officeDocument/2006/relationships/slideLayout" Target="../slideLayouts/slideLayout244.xml"/><Relationship Id="rId98"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74.xml"/><Relationship Id="rId21" Type="http://schemas.openxmlformats.org/officeDocument/2006/relationships/slideLayout" Target="../slideLayouts/slideLayout269.xml"/><Relationship Id="rId42" Type="http://schemas.openxmlformats.org/officeDocument/2006/relationships/slideLayout" Target="../slideLayouts/slideLayout290.xml"/><Relationship Id="rId47" Type="http://schemas.openxmlformats.org/officeDocument/2006/relationships/slideLayout" Target="../slideLayouts/slideLayout295.xml"/><Relationship Id="rId63" Type="http://schemas.openxmlformats.org/officeDocument/2006/relationships/slideLayout" Target="../slideLayouts/slideLayout311.xml"/><Relationship Id="rId68" Type="http://schemas.openxmlformats.org/officeDocument/2006/relationships/slideLayout" Target="../slideLayouts/slideLayout316.xml"/><Relationship Id="rId84" Type="http://schemas.openxmlformats.org/officeDocument/2006/relationships/slideLayout" Target="../slideLayouts/slideLayout332.xml"/><Relationship Id="rId89" Type="http://schemas.openxmlformats.org/officeDocument/2006/relationships/slideLayout" Target="../slideLayouts/slideLayout337.xml"/><Relationship Id="rId16" Type="http://schemas.openxmlformats.org/officeDocument/2006/relationships/slideLayout" Target="../slideLayouts/slideLayout264.xml"/><Relationship Id="rId11" Type="http://schemas.openxmlformats.org/officeDocument/2006/relationships/slideLayout" Target="../slideLayouts/slideLayout259.xml"/><Relationship Id="rId32" Type="http://schemas.openxmlformats.org/officeDocument/2006/relationships/slideLayout" Target="../slideLayouts/slideLayout280.xml"/><Relationship Id="rId37" Type="http://schemas.openxmlformats.org/officeDocument/2006/relationships/slideLayout" Target="../slideLayouts/slideLayout285.xml"/><Relationship Id="rId53" Type="http://schemas.openxmlformats.org/officeDocument/2006/relationships/slideLayout" Target="../slideLayouts/slideLayout301.xml"/><Relationship Id="rId58" Type="http://schemas.openxmlformats.org/officeDocument/2006/relationships/slideLayout" Target="../slideLayouts/slideLayout306.xml"/><Relationship Id="rId74" Type="http://schemas.openxmlformats.org/officeDocument/2006/relationships/slideLayout" Target="../slideLayouts/slideLayout322.xml"/><Relationship Id="rId79" Type="http://schemas.openxmlformats.org/officeDocument/2006/relationships/slideLayout" Target="../slideLayouts/slideLayout327.xml"/><Relationship Id="rId5" Type="http://schemas.openxmlformats.org/officeDocument/2006/relationships/slideLayout" Target="../slideLayouts/slideLayout253.xml"/><Relationship Id="rId90" Type="http://schemas.openxmlformats.org/officeDocument/2006/relationships/slideLayout" Target="../slideLayouts/slideLayout338.xml"/><Relationship Id="rId95" Type="http://schemas.openxmlformats.org/officeDocument/2006/relationships/slideLayout" Target="../slideLayouts/slideLayout343.xml"/><Relationship Id="rId22" Type="http://schemas.openxmlformats.org/officeDocument/2006/relationships/slideLayout" Target="../slideLayouts/slideLayout270.xml"/><Relationship Id="rId27" Type="http://schemas.openxmlformats.org/officeDocument/2006/relationships/slideLayout" Target="../slideLayouts/slideLayout275.xml"/><Relationship Id="rId43" Type="http://schemas.openxmlformats.org/officeDocument/2006/relationships/slideLayout" Target="../slideLayouts/slideLayout291.xml"/><Relationship Id="rId48" Type="http://schemas.openxmlformats.org/officeDocument/2006/relationships/slideLayout" Target="../slideLayouts/slideLayout296.xml"/><Relationship Id="rId64" Type="http://schemas.openxmlformats.org/officeDocument/2006/relationships/slideLayout" Target="../slideLayouts/slideLayout312.xml"/><Relationship Id="rId69" Type="http://schemas.openxmlformats.org/officeDocument/2006/relationships/slideLayout" Target="../slideLayouts/slideLayout317.xml"/><Relationship Id="rId80" Type="http://schemas.openxmlformats.org/officeDocument/2006/relationships/slideLayout" Target="../slideLayouts/slideLayout328.xml"/><Relationship Id="rId85" Type="http://schemas.openxmlformats.org/officeDocument/2006/relationships/slideLayout" Target="../slideLayouts/slideLayout333.xml"/><Relationship Id="rId3" Type="http://schemas.openxmlformats.org/officeDocument/2006/relationships/slideLayout" Target="../slideLayouts/slideLayout251.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5" Type="http://schemas.openxmlformats.org/officeDocument/2006/relationships/slideLayout" Target="../slideLayouts/slideLayout273.xml"/><Relationship Id="rId33" Type="http://schemas.openxmlformats.org/officeDocument/2006/relationships/slideLayout" Target="../slideLayouts/slideLayout281.xml"/><Relationship Id="rId38" Type="http://schemas.openxmlformats.org/officeDocument/2006/relationships/slideLayout" Target="../slideLayouts/slideLayout286.xml"/><Relationship Id="rId46" Type="http://schemas.openxmlformats.org/officeDocument/2006/relationships/slideLayout" Target="../slideLayouts/slideLayout294.xml"/><Relationship Id="rId59" Type="http://schemas.openxmlformats.org/officeDocument/2006/relationships/slideLayout" Target="../slideLayouts/slideLayout307.xml"/><Relationship Id="rId67" Type="http://schemas.openxmlformats.org/officeDocument/2006/relationships/slideLayout" Target="../slideLayouts/slideLayout315.xml"/><Relationship Id="rId20" Type="http://schemas.openxmlformats.org/officeDocument/2006/relationships/slideLayout" Target="../slideLayouts/slideLayout268.xml"/><Relationship Id="rId41" Type="http://schemas.openxmlformats.org/officeDocument/2006/relationships/slideLayout" Target="../slideLayouts/slideLayout289.xml"/><Relationship Id="rId54" Type="http://schemas.openxmlformats.org/officeDocument/2006/relationships/slideLayout" Target="../slideLayouts/slideLayout302.xml"/><Relationship Id="rId62" Type="http://schemas.openxmlformats.org/officeDocument/2006/relationships/slideLayout" Target="../slideLayouts/slideLayout310.xml"/><Relationship Id="rId70" Type="http://schemas.openxmlformats.org/officeDocument/2006/relationships/slideLayout" Target="../slideLayouts/slideLayout318.xml"/><Relationship Id="rId75" Type="http://schemas.openxmlformats.org/officeDocument/2006/relationships/slideLayout" Target="../slideLayouts/slideLayout323.xml"/><Relationship Id="rId83" Type="http://schemas.openxmlformats.org/officeDocument/2006/relationships/slideLayout" Target="../slideLayouts/slideLayout331.xml"/><Relationship Id="rId88" Type="http://schemas.openxmlformats.org/officeDocument/2006/relationships/slideLayout" Target="../slideLayouts/slideLayout336.xml"/><Relationship Id="rId91" Type="http://schemas.openxmlformats.org/officeDocument/2006/relationships/slideLayout" Target="../slideLayouts/slideLayout339.xml"/><Relationship Id="rId96" Type="http://schemas.openxmlformats.org/officeDocument/2006/relationships/slideLayout" Target="../slideLayouts/slideLayout344.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5" Type="http://schemas.openxmlformats.org/officeDocument/2006/relationships/slideLayout" Target="../slideLayouts/slideLayout263.xml"/><Relationship Id="rId23" Type="http://schemas.openxmlformats.org/officeDocument/2006/relationships/slideLayout" Target="../slideLayouts/slideLayout271.xml"/><Relationship Id="rId28" Type="http://schemas.openxmlformats.org/officeDocument/2006/relationships/slideLayout" Target="../slideLayouts/slideLayout276.xml"/><Relationship Id="rId36" Type="http://schemas.openxmlformats.org/officeDocument/2006/relationships/slideLayout" Target="../slideLayouts/slideLayout284.xml"/><Relationship Id="rId49" Type="http://schemas.openxmlformats.org/officeDocument/2006/relationships/slideLayout" Target="../slideLayouts/slideLayout297.xml"/><Relationship Id="rId57" Type="http://schemas.openxmlformats.org/officeDocument/2006/relationships/slideLayout" Target="../slideLayouts/slideLayout305.xml"/><Relationship Id="rId10" Type="http://schemas.openxmlformats.org/officeDocument/2006/relationships/slideLayout" Target="../slideLayouts/slideLayout258.xml"/><Relationship Id="rId31" Type="http://schemas.openxmlformats.org/officeDocument/2006/relationships/slideLayout" Target="../slideLayouts/slideLayout279.xml"/><Relationship Id="rId44" Type="http://schemas.openxmlformats.org/officeDocument/2006/relationships/slideLayout" Target="../slideLayouts/slideLayout292.xml"/><Relationship Id="rId52" Type="http://schemas.openxmlformats.org/officeDocument/2006/relationships/slideLayout" Target="../slideLayouts/slideLayout300.xml"/><Relationship Id="rId60" Type="http://schemas.openxmlformats.org/officeDocument/2006/relationships/slideLayout" Target="../slideLayouts/slideLayout308.xml"/><Relationship Id="rId65" Type="http://schemas.openxmlformats.org/officeDocument/2006/relationships/slideLayout" Target="../slideLayouts/slideLayout313.xml"/><Relationship Id="rId73" Type="http://schemas.openxmlformats.org/officeDocument/2006/relationships/slideLayout" Target="../slideLayouts/slideLayout321.xml"/><Relationship Id="rId78" Type="http://schemas.openxmlformats.org/officeDocument/2006/relationships/slideLayout" Target="../slideLayouts/slideLayout326.xml"/><Relationship Id="rId81" Type="http://schemas.openxmlformats.org/officeDocument/2006/relationships/slideLayout" Target="../slideLayouts/slideLayout329.xml"/><Relationship Id="rId86" Type="http://schemas.openxmlformats.org/officeDocument/2006/relationships/slideLayout" Target="../slideLayouts/slideLayout334.xml"/><Relationship Id="rId94" Type="http://schemas.openxmlformats.org/officeDocument/2006/relationships/slideLayout" Target="../slideLayouts/slideLayout342.xml"/><Relationship Id="rId99" Type="http://schemas.openxmlformats.org/officeDocument/2006/relationships/theme" Target="../theme/theme4.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3" Type="http://schemas.openxmlformats.org/officeDocument/2006/relationships/slideLayout" Target="../slideLayouts/slideLayout261.xml"/><Relationship Id="rId18" Type="http://schemas.openxmlformats.org/officeDocument/2006/relationships/slideLayout" Target="../slideLayouts/slideLayout266.xml"/><Relationship Id="rId39" Type="http://schemas.openxmlformats.org/officeDocument/2006/relationships/slideLayout" Target="../slideLayouts/slideLayout287.xml"/><Relationship Id="rId34" Type="http://schemas.openxmlformats.org/officeDocument/2006/relationships/slideLayout" Target="../slideLayouts/slideLayout282.xml"/><Relationship Id="rId50" Type="http://schemas.openxmlformats.org/officeDocument/2006/relationships/slideLayout" Target="../slideLayouts/slideLayout298.xml"/><Relationship Id="rId55" Type="http://schemas.openxmlformats.org/officeDocument/2006/relationships/slideLayout" Target="../slideLayouts/slideLayout303.xml"/><Relationship Id="rId76" Type="http://schemas.openxmlformats.org/officeDocument/2006/relationships/slideLayout" Target="../slideLayouts/slideLayout324.xml"/><Relationship Id="rId97" Type="http://schemas.openxmlformats.org/officeDocument/2006/relationships/slideLayout" Target="../slideLayouts/slideLayout345.xml"/><Relationship Id="rId7" Type="http://schemas.openxmlformats.org/officeDocument/2006/relationships/slideLayout" Target="../slideLayouts/slideLayout255.xml"/><Relationship Id="rId71" Type="http://schemas.openxmlformats.org/officeDocument/2006/relationships/slideLayout" Target="../slideLayouts/slideLayout319.xml"/><Relationship Id="rId92" Type="http://schemas.openxmlformats.org/officeDocument/2006/relationships/slideLayout" Target="../slideLayouts/slideLayout340.xml"/><Relationship Id="rId2" Type="http://schemas.openxmlformats.org/officeDocument/2006/relationships/slideLayout" Target="../slideLayouts/slideLayout250.xml"/><Relationship Id="rId29" Type="http://schemas.openxmlformats.org/officeDocument/2006/relationships/slideLayout" Target="../slideLayouts/slideLayout277.xml"/><Relationship Id="rId24" Type="http://schemas.openxmlformats.org/officeDocument/2006/relationships/slideLayout" Target="../slideLayouts/slideLayout272.xml"/><Relationship Id="rId40" Type="http://schemas.openxmlformats.org/officeDocument/2006/relationships/slideLayout" Target="../slideLayouts/slideLayout288.xml"/><Relationship Id="rId45" Type="http://schemas.openxmlformats.org/officeDocument/2006/relationships/slideLayout" Target="../slideLayouts/slideLayout293.xml"/><Relationship Id="rId66" Type="http://schemas.openxmlformats.org/officeDocument/2006/relationships/slideLayout" Target="../slideLayouts/slideLayout314.xml"/><Relationship Id="rId87" Type="http://schemas.openxmlformats.org/officeDocument/2006/relationships/slideLayout" Target="../slideLayouts/slideLayout335.xml"/><Relationship Id="rId61" Type="http://schemas.openxmlformats.org/officeDocument/2006/relationships/slideLayout" Target="../slideLayouts/slideLayout309.xml"/><Relationship Id="rId82" Type="http://schemas.openxmlformats.org/officeDocument/2006/relationships/slideLayout" Target="../slideLayouts/slideLayout330.xml"/><Relationship Id="rId19" Type="http://schemas.openxmlformats.org/officeDocument/2006/relationships/slideLayout" Target="../slideLayouts/slideLayout267.xml"/><Relationship Id="rId14" Type="http://schemas.openxmlformats.org/officeDocument/2006/relationships/slideLayout" Target="../slideLayouts/slideLayout262.xml"/><Relationship Id="rId30" Type="http://schemas.openxmlformats.org/officeDocument/2006/relationships/slideLayout" Target="../slideLayouts/slideLayout278.xml"/><Relationship Id="rId35" Type="http://schemas.openxmlformats.org/officeDocument/2006/relationships/slideLayout" Target="../slideLayouts/slideLayout283.xml"/><Relationship Id="rId56" Type="http://schemas.openxmlformats.org/officeDocument/2006/relationships/slideLayout" Target="../slideLayouts/slideLayout304.xml"/><Relationship Id="rId77" Type="http://schemas.openxmlformats.org/officeDocument/2006/relationships/slideLayout" Target="../slideLayouts/slideLayout325.xml"/><Relationship Id="rId8" Type="http://schemas.openxmlformats.org/officeDocument/2006/relationships/slideLayout" Target="../slideLayouts/slideLayout256.xml"/><Relationship Id="rId51" Type="http://schemas.openxmlformats.org/officeDocument/2006/relationships/slideLayout" Target="../slideLayouts/slideLayout299.xml"/><Relationship Id="rId72" Type="http://schemas.openxmlformats.org/officeDocument/2006/relationships/slideLayout" Target="../slideLayouts/slideLayout320.xml"/><Relationship Id="rId93" Type="http://schemas.openxmlformats.org/officeDocument/2006/relationships/slideLayout" Target="../slideLayouts/slideLayout341.xml"/><Relationship Id="rId98" Type="http://schemas.openxmlformats.org/officeDocument/2006/relationships/slideLayout" Target="../slideLayouts/slideLayout3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ftr" sz="quarter" idx="5"/>
          </p:nvPr>
        </p:nvSpPr>
        <p:spPr>
          <a:xfrm>
            <a:off x="10067964" y="6390227"/>
            <a:ext cx="113680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a:xfrm>
            <a:off x="342901" y="6322375"/>
            <a:ext cx="1740590" cy="207749"/>
          </a:xfrm>
          <a:prstGeom prst="rect">
            <a:avLst/>
          </a:prstGeom>
        </p:spPr>
        <p:txBody>
          <a:bodyPr wrap="square" lIns="0" tIns="0" rIns="0" bIns="0" anchor="b">
            <a:spAutoFit/>
          </a:bodyPr>
          <a:lstStyle>
            <a:lvl1pPr marL="9525" algn="l" defTabSz="685800" rtl="0" eaLnBrk="1" latinLnBrk="0" hangingPunct="1">
              <a:lnSpc>
                <a:spcPct val="100000"/>
              </a:lnSpc>
              <a:spcBef>
                <a:spcPts val="90"/>
              </a:spcBef>
              <a:defRPr lang="en-US" sz="1350" b="0" i="0" kern="1200" spc="-4" smtClean="0">
                <a:solidFill>
                  <a:schemeClr val="tx1"/>
                </a:solidFill>
                <a:latin typeface="Nunito Sans" charset="0"/>
                <a:ea typeface="Nunito Sans" charset="0"/>
                <a:cs typeface="Nunito Sans" charset="0"/>
              </a:defRPr>
            </a:lvl1pPr>
          </a:lstStyle>
          <a:p>
            <a:r>
              <a:rPr lang="en-GB"/>
              <a:t>18/02/2018</a:t>
            </a:r>
            <a:endParaRPr lang="mr-IN"/>
          </a:p>
        </p:txBody>
      </p:sp>
      <p:sp>
        <p:nvSpPr>
          <p:cNvPr id="6" name="Holder 6"/>
          <p:cNvSpPr>
            <a:spLocks noGrp="1"/>
          </p:cNvSpPr>
          <p:nvPr>
            <p:ph type="sldNum" sz="quarter" idx="7"/>
          </p:nvPr>
        </p:nvSpPr>
        <p:spPr>
          <a:xfrm>
            <a:off x="11694121" y="6390227"/>
            <a:ext cx="15763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 name="Text Placeholder 1">
            <a:extLst>
              <a:ext uri="{FF2B5EF4-FFF2-40B4-BE49-F238E27FC236}">
                <a16:creationId xmlns:a16="http://schemas.microsoft.com/office/drawing/2014/main" id="{EEB9D245-AF4C-A94D-8056-49CC09246EF2}"/>
              </a:ext>
            </a:extLst>
          </p:cNvPr>
          <p:cNvSpPr>
            <a:spLocks noGrp="1"/>
          </p:cNvSpPr>
          <p:nvPr>
            <p:ph type="body" idx="1"/>
          </p:nvPr>
        </p:nvSpPr>
        <p:spPr>
          <a:xfrm>
            <a:off x="342900" y="1825229"/>
            <a:ext cx="11010900" cy="4351734"/>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Holder 2">
            <a:extLst>
              <a:ext uri="{FF2B5EF4-FFF2-40B4-BE49-F238E27FC236}">
                <a16:creationId xmlns:a16="http://schemas.microsoft.com/office/drawing/2014/main" id="{4D44D9BB-CA16-684F-99FA-C3CDDAAB6EEA}"/>
              </a:ext>
            </a:extLst>
          </p:cNvPr>
          <p:cNvSpPr txBox="1">
            <a:spLocks/>
          </p:cNvSpPr>
          <p:nvPr userDrawn="1"/>
        </p:nvSpPr>
        <p:spPr>
          <a:xfrm>
            <a:off x="345675" y="326552"/>
            <a:ext cx="5750325" cy="207749"/>
          </a:xfrm>
          <a:prstGeom prst="rect">
            <a:avLst/>
          </a:prstGeom>
        </p:spPr>
        <p:txBody>
          <a:bodyPr wrap="square" lIns="0" tIns="0" rIns="0" bIns="0" anchor="b">
            <a:spAutoFit/>
          </a:bodyPr>
          <a:lstStyle>
            <a:lvl1pPr marL="12700" algn="l" defTabSz="914400" rtl="0" eaLnBrk="1" latinLnBrk="0" hangingPunct="1">
              <a:lnSpc>
                <a:spcPct val="100000"/>
              </a:lnSpc>
              <a:spcBef>
                <a:spcPts val="100"/>
              </a:spcBef>
              <a:defRPr lang="en-US" sz="1800" b="0" i="0" kern="1200" spc="-5">
                <a:solidFill>
                  <a:schemeClr val="bg1"/>
                </a:solidFill>
                <a:latin typeface="Nunito Sans" charset="0"/>
                <a:ea typeface="Nunito Sans" charset="0"/>
                <a:cs typeface="Nunito Sans" charset="0"/>
              </a:defRPr>
            </a:lvl1pPr>
          </a:lstStyle>
          <a:p>
            <a:r>
              <a:rPr lang="en-GB" sz="1350">
                <a:solidFill>
                  <a:schemeClr val="tx1"/>
                </a:solidFill>
              </a:rPr>
              <a:t>Presentation title</a:t>
            </a:r>
          </a:p>
        </p:txBody>
      </p:sp>
      <p:sp>
        <p:nvSpPr>
          <p:cNvPr id="9" name="Holder 3">
            <a:extLst>
              <a:ext uri="{FF2B5EF4-FFF2-40B4-BE49-F238E27FC236}">
                <a16:creationId xmlns:a16="http://schemas.microsoft.com/office/drawing/2014/main" id="{A1047EC1-FDCA-904E-B3BA-BE4F586077C0}"/>
              </a:ext>
            </a:extLst>
          </p:cNvPr>
          <p:cNvSpPr txBox="1">
            <a:spLocks/>
          </p:cNvSpPr>
          <p:nvPr userDrawn="1"/>
        </p:nvSpPr>
        <p:spPr>
          <a:xfrm>
            <a:off x="345675" y="534300"/>
            <a:ext cx="5750325" cy="207749"/>
          </a:xfrm>
          <a:prstGeom prst="rect">
            <a:avLst/>
          </a:prstGeom>
        </p:spPr>
        <p:txBody>
          <a:bodyPr wrap="square" lIns="0" tIns="0" rIns="0" bIns="0" anchor="t">
            <a:spAutoFit/>
          </a:bodyPr>
          <a:lstStyle>
            <a:lvl1pPr marL="18000" indent="0" eaLnBrk="1" hangingPunct="1">
              <a:buClr>
                <a:schemeClr val="tx2"/>
              </a:buClr>
              <a:buSzPct val="125000"/>
              <a:buFont typeface="Arial" panose="020B0604020202020204" pitchFamily="34" charset="0"/>
              <a:buNone/>
              <a:defRPr lang="en-US" sz="1800" b="0" i="0" kern="1200" spc="-5" dirty="0" smtClean="0">
                <a:solidFill>
                  <a:srgbClr val="FFFFFF"/>
                </a:solidFill>
                <a:latin typeface="Nunito Sans Black" charset="0"/>
                <a:ea typeface="Nunito Sans Black" charset="0"/>
                <a:cs typeface="Nunito Sans Black" charset="0"/>
              </a:defRPr>
            </a:lvl1pPr>
            <a:lvl2pPr marL="18000" indent="0" eaLnBrk="1" hangingPunct="1">
              <a:buClr>
                <a:schemeClr val="tx2"/>
              </a:buClr>
              <a:buSzPct val="125000"/>
              <a:buFont typeface="Arial" panose="020B0604020202020204" pitchFamily="34" charset="0"/>
              <a:buNone/>
              <a:tabLst/>
              <a:defRPr sz="2400" b="0" i="0">
                <a:latin typeface="Nunito Sans Black" pitchFamily="2" charset="77"/>
                <a:ea typeface="+mn-ea"/>
                <a:cs typeface="+mn-cs"/>
              </a:defRPr>
            </a:lvl2pPr>
            <a:lvl3pPr marL="18000" indent="0" eaLnBrk="1" hangingPunct="1">
              <a:buClr>
                <a:schemeClr val="tx1"/>
              </a:buClr>
              <a:buSzPct val="125000"/>
              <a:buFont typeface="Arial" panose="020B0604020202020204" pitchFamily="34" charset="0"/>
              <a:buNone/>
              <a:tabLst/>
              <a:defRPr sz="2400">
                <a:solidFill>
                  <a:schemeClr val="tx2"/>
                </a:solidFill>
                <a:latin typeface="+mn-lt"/>
                <a:ea typeface="+mn-ea"/>
                <a:cs typeface="+mn-cs"/>
              </a:defRPr>
            </a:lvl3pPr>
            <a:lvl4pPr marL="18000" indent="0" eaLnBrk="1" hangingPunct="1">
              <a:buClr>
                <a:schemeClr val="tx1"/>
              </a:buClr>
              <a:buSzPct val="125000"/>
              <a:buFont typeface="Arial" panose="020B0604020202020204" pitchFamily="34" charset="0"/>
              <a:buNone/>
              <a:tabLst/>
              <a:defRPr sz="2400" b="0" i="0">
                <a:solidFill>
                  <a:schemeClr val="tx2"/>
                </a:solidFill>
                <a:latin typeface="Nunito Sans Black" pitchFamily="2" charset="77"/>
                <a:ea typeface="+mn-ea"/>
                <a:cs typeface="+mn-cs"/>
              </a:defRPr>
            </a:lvl4pPr>
            <a:lvl5pPr marL="18000" indent="0" eaLnBrk="1" hangingPunct="1">
              <a:spcBef>
                <a:spcPts val="2600"/>
              </a:spcBef>
              <a:buClr>
                <a:schemeClr val="tx2"/>
              </a:buClr>
              <a:buSzPct val="125000"/>
              <a:buFont typeface="Arial" panose="020B0604020202020204" pitchFamily="34" charset="0"/>
              <a:buNone/>
              <a:tabLst/>
              <a:defRPr sz="2400" b="0" i="0">
                <a:latin typeface="Nunito Sans Black" pitchFamily="2" charset="77"/>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marL="9525" algn="l" rtl="0">
              <a:spcBef>
                <a:spcPts val="30"/>
              </a:spcBef>
            </a:pPr>
            <a:r>
              <a:rPr lang="en-GB" sz="1350">
                <a:solidFill>
                  <a:schemeClr val="tx1"/>
                </a:solidFill>
              </a:rPr>
              <a:t>Page heading</a:t>
            </a:r>
          </a:p>
        </p:txBody>
      </p:sp>
    </p:spTree>
  </p:cSld>
  <p:clrMap bg1="lt1" tx1="dk1" bg2="lt2" tx2="dk2" accent1="accent1" accent2="accent2" accent3="accent3" accent4="accent4" accent5="accent5" accent6="accent6" hlink="hlink" folHlink="folHlink"/>
  <p:sldLayoutIdLst>
    <p:sldLayoutId id="2147483892" r:id="rId1"/>
    <p:sldLayoutId id="2147483893" r:id="rId2"/>
    <p:sldLayoutId id="2147483859" r:id="rId3"/>
    <p:sldLayoutId id="2147483706" r:id="rId4"/>
    <p:sldLayoutId id="2147483891" r:id="rId5"/>
    <p:sldLayoutId id="2147483691" r:id="rId6"/>
    <p:sldLayoutId id="2147483894" r:id="rId7"/>
    <p:sldLayoutId id="2147483895" r:id="rId8"/>
    <p:sldLayoutId id="2147483896" r:id="rId9"/>
    <p:sldLayoutId id="2147483897" r:id="rId10"/>
    <p:sldLayoutId id="2147484037" r:id="rId11"/>
    <p:sldLayoutId id="2147483899" r:id="rId12"/>
    <p:sldLayoutId id="2147483900" r:id="rId13"/>
    <p:sldLayoutId id="2147483901" r:id="rId14"/>
    <p:sldLayoutId id="2147483902" r:id="rId15"/>
    <p:sldLayoutId id="2147483903" r:id="rId16"/>
    <p:sldLayoutId id="2147483904" r:id="rId17"/>
    <p:sldLayoutId id="2147483905" r:id="rId18"/>
    <p:sldLayoutId id="2147483906" r:id="rId19"/>
    <p:sldLayoutId id="2147483907" r:id="rId20"/>
    <p:sldLayoutId id="2147483908" r:id="rId21"/>
    <p:sldLayoutId id="2147483909" r:id="rId22"/>
    <p:sldLayoutId id="2147483910" r:id="rId23"/>
    <p:sldLayoutId id="2147483911" r:id="rId24"/>
    <p:sldLayoutId id="2147483912" r:id="rId25"/>
    <p:sldLayoutId id="2147483913" r:id="rId26"/>
    <p:sldLayoutId id="2147483914" r:id="rId27"/>
    <p:sldLayoutId id="2147483915" r:id="rId28"/>
    <p:sldLayoutId id="2147483916" r:id="rId29"/>
    <p:sldLayoutId id="2147483917" r:id="rId30"/>
    <p:sldLayoutId id="2147483918" r:id="rId31"/>
    <p:sldLayoutId id="2147483919" r:id="rId32"/>
    <p:sldLayoutId id="2147483920" r:id="rId33"/>
    <p:sldLayoutId id="2147483921" r:id="rId34"/>
    <p:sldLayoutId id="2147483922" r:id="rId35"/>
    <p:sldLayoutId id="2147483923" r:id="rId36"/>
    <p:sldLayoutId id="2147483924" r:id="rId37"/>
    <p:sldLayoutId id="2147483925" r:id="rId38"/>
    <p:sldLayoutId id="2147483926" r:id="rId39"/>
    <p:sldLayoutId id="2147483927" r:id="rId40"/>
    <p:sldLayoutId id="2147483928" r:id="rId41"/>
    <p:sldLayoutId id="2147483929" r:id="rId42"/>
    <p:sldLayoutId id="2147483930" r:id="rId43"/>
    <p:sldLayoutId id="2147483931" r:id="rId44"/>
    <p:sldLayoutId id="2147483932" r:id="rId45"/>
    <p:sldLayoutId id="2147483933" r:id="rId46"/>
    <p:sldLayoutId id="2147483934" r:id="rId47"/>
    <p:sldLayoutId id="2147483935" r:id="rId48"/>
    <p:sldLayoutId id="2147483936" r:id="rId49"/>
    <p:sldLayoutId id="2147483937" r:id="rId50"/>
    <p:sldLayoutId id="2147483938" r:id="rId51"/>
    <p:sldLayoutId id="2147483939" r:id="rId52"/>
    <p:sldLayoutId id="2147483864" r:id="rId53"/>
    <p:sldLayoutId id="2147483865" r:id="rId54"/>
    <p:sldLayoutId id="2147483866" r:id="rId55"/>
    <p:sldLayoutId id="2147483860" r:id="rId56"/>
    <p:sldLayoutId id="2147483867" r:id="rId57"/>
    <p:sldLayoutId id="2147483868" r:id="rId58"/>
    <p:sldLayoutId id="2147484024" r:id="rId59"/>
    <p:sldLayoutId id="2147484025" r:id="rId60"/>
    <p:sldLayoutId id="2147484026" r:id="rId61"/>
    <p:sldLayoutId id="2147484027" r:id="rId62"/>
    <p:sldLayoutId id="2147483869" r:id="rId63"/>
    <p:sldLayoutId id="2147483870" r:id="rId64"/>
    <p:sldLayoutId id="2147483871" r:id="rId65"/>
    <p:sldLayoutId id="2147483872" r:id="rId66"/>
    <p:sldLayoutId id="2147483873" r:id="rId67"/>
    <p:sldLayoutId id="2147483713" r:id="rId68"/>
    <p:sldLayoutId id="2147484028" r:id="rId69"/>
    <p:sldLayoutId id="2147484029" r:id="rId70"/>
    <p:sldLayoutId id="2147484030" r:id="rId71"/>
    <p:sldLayoutId id="2147484031" r:id="rId72"/>
    <p:sldLayoutId id="2147484032" r:id="rId73"/>
    <p:sldLayoutId id="2147484033" r:id="rId74"/>
    <p:sldLayoutId id="2147483874" r:id="rId75"/>
    <p:sldLayoutId id="2147483714" r:id="rId76"/>
    <p:sldLayoutId id="2147483875" r:id="rId77"/>
    <p:sldLayoutId id="2147483715" r:id="rId78"/>
    <p:sldLayoutId id="2147483721" r:id="rId79"/>
    <p:sldLayoutId id="2147483876" r:id="rId80"/>
    <p:sldLayoutId id="2147483995" r:id="rId81"/>
    <p:sldLayoutId id="2147483681" r:id="rId82"/>
    <p:sldLayoutId id="2147483877" r:id="rId83"/>
    <p:sldLayoutId id="2147483692" r:id="rId84"/>
    <p:sldLayoutId id="2147483996" r:id="rId85"/>
    <p:sldLayoutId id="2147483997" r:id="rId86"/>
    <p:sldLayoutId id="2147483998" r:id="rId87"/>
    <p:sldLayoutId id="2147483999" r:id="rId88"/>
    <p:sldLayoutId id="2147484000" r:id="rId89"/>
    <p:sldLayoutId id="2147484001" r:id="rId90"/>
    <p:sldLayoutId id="2147484002" r:id="rId91"/>
    <p:sldLayoutId id="2147484003" r:id="rId92"/>
    <p:sldLayoutId id="2147484004" r:id="rId93"/>
    <p:sldLayoutId id="2147484005" r:id="rId94"/>
    <p:sldLayoutId id="2147484006" r:id="rId95"/>
    <p:sldLayoutId id="2147484007" r:id="rId96"/>
    <p:sldLayoutId id="2147484008" r:id="rId97"/>
    <p:sldLayoutId id="2147484009" r:id="rId98"/>
    <p:sldLayoutId id="2147484010" r:id="rId99"/>
    <p:sldLayoutId id="2147484011" r:id="rId100"/>
    <p:sldLayoutId id="2147484012" r:id="rId101"/>
    <p:sldLayoutId id="2147484013" r:id="rId102"/>
    <p:sldLayoutId id="2147484014" r:id="rId103"/>
    <p:sldLayoutId id="2147484015" r:id="rId104"/>
    <p:sldLayoutId id="2147484016" r:id="rId105"/>
    <p:sldLayoutId id="2147484017" r:id="rId106"/>
    <p:sldLayoutId id="2147484018" r:id="rId107"/>
    <p:sldLayoutId id="2147484019" r:id="rId108"/>
    <p:sldLayoutId id="2147483711" r:id="rId109"/>
    <p:sldLayoutId id="2147483878" r:id="rId110"/>
    <p:sldLayoutId id="2147483683" r:id="rId111"/>
    <p:sldLayoutId id="2147483707" r:id="rId112"/>
    <p:sldLayoutId id="2147483697" r:id="rId113"/>
    <p:sldLayoutId id="2147483708" r:id="rId114"/>
    <p:sldLayoutId id="2147483701" r:id="rId115"/>
    <p:sldLayoutId id="2147483709" r:id="rId116"/>
    <p:sldLayoutId id="2147483702" r:id="rId117"/>
    <p:sldLayoutId id="2147483710" r:id="rId118"/>
    <p:sldLayoutId id="2147483687" r:id="rId119"/>
    <p:sldLayoutId id="2147483712" r:id="rId120"/>
    <p:sldLayoutId id="2147483699" r:id="rId121"/>
    <p:sldLayoutId id="2147483716" r:id="rId122"/>
    <p:sldLayoutId id="2147483717" r:id="rId123"/>
    <p:sldLayoutId id="2147483698" r:id="rId124"/>
    <p:sldLayoutId id="2147483722" r:id="rId125"/>
    <p:sldLayoutId id="2147483723" r:id="rId126"/>
    <p:sldLayoutId id="2147483700" r:id="rId127"/>
    <p:sldLayoutId id="2147483718" r:id="rId128"/>
    <p:sldLayoutId id="2147483719" r:id="rId129"/>
    <p:sldLayoutId id="2147483720" r:id="rId130"/>
    <p:sldLayoutId id="2147483689" r:id="rId131"/>
    <p:sldLayoutId id="2147483696" r:id="rId132"/>
    <p:sldLayoutId id="2147483703" r:id="rId133"/>
    <p:sldLayoutId id="2147483704" r:id="rId134"/>
    <p:sldLayoutId id="2147483705" r:id="rId135"/>
    <p:sldLayoutId id="2147483940" r:id="rId136"/>
    <p:sldLayoutId id="2147484020" r:id="rId137"/>
    <p:sldLayoutId id="2147483724" r:id="rId138"/>
    <p:sldLayoutId id="2147484038" r:id="rId139"/>
  </p:sldLayoutIdLst>
  <p:txStyles>
    <p:titleStyle>
      <a:lvl1pPr marL="9525" algn="l" defTabSz="685800" rtl="0" eaLnBrk="1" latinLnBrk="0" hangingPunct="1">
        <a:lnSpc>
          <a:spcPct val="100000"/>
        </a:lnSpc>
        <a:spcBef>
          <a:spcPts val="75"/>
        </a:spcBef>
        <a:defRPr lang="en-US" sz="1350" b="0" i="0" kern="1200" spc="-4" dirty="0" smtClean="0">
          <a:solidFill>
            <a:schemeClr val="tx1"/>
          </a:solidFill>
          <a:latin typeface="Nunito Sans" charset="0"/>
          <a:ea typeface="Nunito Sans" charset="0"/>
          <a:cs typeface="Nunito Sans" charset="0"/>
        </a:defRPr>
      </a:lvl1pPr>
    </p:titleStyle>
    <p:bodyStyle>
      <a:lvl1pPr marL="133200" indent="-122400" eaLnBrk="1" hangingPunct="1">
        <a:buClr>
          <a:schemeClr val="tx2"/>
        </a:buClr>
        <a:buSzPct val="125000"/>
        <a:buFont typeface="Arial" panose="020B0604020202020204" pitchFamily="34" charset="0"/>
        <a:buChar char="•"/>
        <a:tabLst/>
        <a:defRPr sz="1800" b="0" i="0">
          <a:latin typeface="Nunito Sans" charset="0"/>
          <a:ea typeface="Nunito Sans" charset="0"/>
          <a:cs typeface="Nunito Sans" charset="0"/>
        </a:defRPr>
      </a:lvl1pPr>
      <a:lvl2pPr marL="133200" indent="-122400" eaLnBrk="1" hangingPunct="1">
        <a:buClr>
          <a:schemeClr val="tx2"/>
        </a:buClr>
        <a:buSzPct val="125000"/>
        <a:buFont typeface="Arial" panose="020B0604020202020204" pitchFamily="34" charset="0"/>
        <a:buChar char="•"/>
        <a:tabLst/>
        <a:defRPr sz="1800" b="0" i="0">
          <a:latin typeface="Nunito Sans Black" pitchFamily="2" charset="77"/>
          <a:ea typeface="+mn-ea"/>
          <a:cs typeface="+mn-cs"/>
        </a:defRPr>
      </a:lvl2pPr>
      <a:lvl3pPr marL="133200" indent="-122400" eaLnBrk="1" hangingPunct="1">
        <a:buClr>
          <a:schemeClr val="tx1"/>
        </a:buClr>
        <a:buSzPct val="125000"/>
        <a:buFont typeface="Arial" panose="020B0604020202020204" pitchFamily="34" charset="0"/>
        <a:buChar char="•"/>
        <a:tabLst/>
        <a:defRPr sz="1800">
          <a:solidFill>
            <a:schemeClr val="tx2"/>
          </a:solidFill>
          <a:latin typeface="+mn-lt"/>
          <a:ea typeface="+mn-ea"/>
          <a:cs typeface="+mn-cs"/>
        </a:defRPr>
      </a:lvl3pPr>
      <a:lvl4pPr marL="133200" indent="-122400" eaLnBrk="1" hangingPunct="1">
        <a:buClr>
          <a:schemeClr val="tx1"/>
        </a:buClr>
        <a:buSzPct val="125000"/>
        <a:buFont typeface="Arial" panose="020B0604020202020204" pitchFamily="34" charset="0"/>
        <a:buChar char="•"/>
        <a:tabLst/>
        <a:defRPr sz="1800" b="0" i="0">
          <a:solidFill>
            <a:schemeClr val="tx2"/>
          </a:solidFill>
          <a:latin typeface="Nunito Sans Black" pitchFamily="2" charset="77"/>
          <a:ea typeface="+mn-ea"/>
          <a:cs typeface="+mn-cs"/>
        </a:defRPr>
      </a:lvl4pPr>
      <a:lvl5pPr marL="133200" indent="-122400" eaLnBrk="1" hangingPunct="1">
        <a:spcBef>
          <a:spcPts val="1950"/>
        </a:spcBef>
        <a:buClr>
          <a:schemeClr val="tx2"/>
        </a:buClr>
        <a:buSzPct val="125000"/>
        <a:buFont typeface="Arial" panose="020B0604020202020204" pitchFamily="34" charset="0"/>
        <a:buChar char="•"/>
        <a:tabLst/>
        <a:defRPr sz="1800" b="0" i="0">
          <a:latin typeface="Nunito Sans Black" pitchFamily="2" charset="77"/>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bodyStyle>
    <p:otherStyle>
      <a:lvl1pPr marL="0" eaLnBrk="1" hangingPunct="1">
        <a:defRPr>
          <a:latin typeface="+mn-lt"/>
          <a:ea typeface="+mn-ea"/>
          <a:cs typeface="+mn-cs"/>
        </a:defRPr>
      </a:lvl1pPr>
      <a:lvl2pPr marL="342900" eaLnBrk="1" hangingPunct="1">
        <a:defRPr>
          <a:latin typeface="+mn-lt"/>
          <a:ea typeface="+mn-ea"/>
          <a:cs typeface="+mn-cs"/>
        </a:defRPr>
      </a:lvl2pPr>
      <a:lvl3pPr marL="685800" eaLnBrk="1" hangingPunct="1">
        <a:defRPr>
          <a:latin typeface="+mn-lt"/>
          <a:ea typeface="+mn-ea"/>
          <a:cs typeface="+mn-cs"/>
        </a:defRPr>
      </a:lvl3pPr>
      <a:lvl4pPr marL="1028700" eaLnBrk="1" hangingPunct="1">
        <a:defRPr>
          <a:latin typeface="+mn-lt"/>
          <a:ea typeface="+mn-ea"/>
          <a:cs typeface="+mn-cs"/>
        </a:defRPr>
      </a:lvl4pPr>
      <a:lvl5pPr marL="1371600" eaLnBrk="1" hangingPunct="1">
        <a:defRPr>
          <a:latin typeface="+mn-lt"/>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227" userDrawn="1">
          <p15:clr>
            <a:srgbClr val="F26B43"/>
          </p15:clr>
        </p15:guide>
        <p15:guide id="3" orient="horz" pos="4163" userDrawn="1">
          <p15:clr>
            <a:srgbClr val="F26B43"/>
          </p15:clr>
        </p15:guide>
        <p15:guide id="4" orient="horz" pos="227" userDrawn="1">
          <p15:clr>
            <a:srgbClr val="F26B43"/>
          </p15:clr>
        </p15:guide>
        <p15:guide id="5" pos="7452" userDrawn="1">
          <p15:clr>
            <a:srgbClr val="F26B43"/>
          </p15:clr>
        </p15:guide>
        <p15:guide id="6" orient="horz" pos="21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623023" y="986599"/>
            <a:ext cx="4945952" cy="492443"/>
          </a:xfrm>
          <a:prstGeom prst="rect">
            <a:avLst/>
          </a:prstGeom>
        </p:spPr>
        <p:txBody>
          <a:bodyPr wrap="square" lIns="0" tIns="0" rIns="0" bIns="0">
            <a:spAutoFit/>
          </a:bodyPr>
          <a:lstStyle>
            <a:lvl1pPr>
              <a:defRPr sz="3200" b="1" i="0">
                <a:solidFill>
                  <a:srgbClr val="7413DC"/>
                </a:solidFill>
                <a:latin typeface="Nunito Sans Black"/>
                <a:cs typeface="Nunito Sans Black"/>
              </a:defRPr>
            </a:lvl1pPr>
          </a:lstStyle>
          <a:p>
            <a:endParaRPr/>
          </a:p>
        </p:txBody>
      </p:sp>
      <p:sp>
        <p:nvSpPr>
          <p:cNvPr id="3" name="Holder 3"/>
          <p:cNvSpPr>
            <a:spLocks noGrp="1"/>
          </p:cNvSpPr>
          <p:nvPr>
            <p:ph type="body" idx="1"/>
          </p:nvPr>
        </p:nvSpPr>
        <p:spPr>
          <a:xfrm>
            <a:off x="520445" y="1816608"/>
            <a:ext cx="11151108" cy="615553"/>
          </a:xfrm>
          <a:prstGeom prst="rect">
            <a:avLst/>
          </a:prstGeom>
        </p:spPr>
        <p:txBody>
          <a:bodyPr wrap="square" lIns="0" tIns="0" rIns="0" bIns="0">
            <a:spAutoFit/>
          </a:bodyPr>
          <a:lstStyle>
            <a:lvl1pPr>
              <a:defRPr sz="4000" b="0" i="0">
                <a:solidFill>
                  <a:schemeClr val="tx1"/>
                </a:solidFill>
                <a:latin typeface="Nunito Sans"/>
                <a:cs typeface="Nunito Sans"/>
              </a:defRPr>
            </a:lvl1pPr>
          </a:lstStyle>
          <a:p>
            <a:endParaRPr/>
          </a:p>
        </p:txBody>
      </p:sp>
      <p:sp>
        <p:nvSpPr>
          <p:cNvPr id="4" name="Holder 4"/>
          <p:cNvSpPr>
            <a:spLocks noGrp="1"/>
          </p:cNvSpPr>
          <p:nvPr>
            <p:ph type="ftr" sz="quarter" idx="5"/>
          </p:nvPr>
        </p:nvSpPr>
        <p:spPr>
          <a:xfrm>
            <a:off x="4145280" y="6377940"/>
            <a:ext cx="3901440" cy="215444"/>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15444"/>
          </a:xfrm>
          <a:prstGeom prst="rect">
            <a:avLst/>
          </a:prstGeom>
        </p:spPr>
        <p:txBody>
          <a:bodyPr wrap="square" lIns="0" tIns="0" rIns="0" bIns="0">
            <a:spAutoFit/>
          </a:bodyPr>
          <a:lstStyle>
            <a:lvl1pPr algn="l">
              <a:defRPr>
                <a:solidFill>
                  <a:schemeClr val="tx1">
                    <a:tint val="75000"/>
                  </a:schemeClr>
                </a:solidFill>
              </a:defRPr>
            </a:lvl1pPr>
          </a:lstStyle>
          <a:p>
            <a:fld id="{B294464F-98B3-404C-85F7-DFE056AC4D6F}" type="datetime1">
              <a:rPr lang="en-US" smtClean="0"/>
              <a:t>10/31/2023</a:t>
            </a:fld>
            <a:endParaRPr lang="en-US"/>
          </a:p>
        </p:txBody>
      </p:sp>
      <p:sp>
        <p:nvSpPr>
          <p:cNvPr id="6" name="Holder 6"/>
          <p:cNvSpPr>
            <a:spLocks noGrp="1"/>
          </p:cNvSpPr>
          <p:nvPr>
            <p:ph type="sldNum" sz="quarter" idx="7"/>
          </p:nvPr>
        </p:nvSpPr>
        <p:spPr>
          <a:xfrm>
            <a:off x="10892143" y="6518567"/>
            <a:ext cx="623411" cy="230832"/>
          </a:xfrm>
          <a:prstGeom prst="rect">
            <a:avLst/>
          </a:prstGeom>
        </p:spPr>
        <p:txBody>
          <a:bodyPr wrap="square" lIns="0" tIns="0" rIns="0" bIns="0">
            <a:spAutoFit/>
          </a:bodyPr>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 bg1="lt1" tx1="dk1" bg2="lt2" tx2="dk2" accent1="accent1" accent2="accent2" accent3="accent3" accent4="accent4" accent5="accent5" accent6="accent6" hlink="hlink" folHlink="folHlink"/>
  <p:sldLayoutIdLst>
    <p:sldLayoutId id="2147483783" r:id="rId1"/>
    <p:sldLayoutId id="2147484034" r:id="rId2"/>
    <p:sldLayoutId id="2147484035" r:id="rId3"/>
    <p:sldLayoutId id="2147484021" r:id="rId4"/>
    <p:sldLayoutId id="2147484022" r:id="rId5"/>
    <p:sldLayoutId id="2147483784" r:id="rId6"/>
    <p:sldLayoutId id="2147483861" r:id="rId7"/>
    <p:sldLayoutId id="2147483862" r:id="rId8"/>
    <p:sldLayoutId id="2147484036" r:id="rId9"/>
    <p:sldLayoutId id="2147484023" r:id="rId10"/>
    <p:sldLayoutId id="2147483863" r:id="rId11"/>
    <p:sldLayoutId id="2147483781" r:id="rId12"/>
  </p:sldLayoutIdLst>
  <p:hf sldNum="0" hdr="0" ftr="0" dt="0"/>
  <p:txStyles>
    <p:titleStyle>
      <a:lvl1pPr>
        <a:defRPr>
          <a:latin typeface="+mj-lt"/>
          <a:ea typeface="+mj-ea"/>
          <a:cs typeface="+mj-cs"/>
        </a:defRPr>
      </a:lvl1pPr>
    </p:titleStyle>
    <p:body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bodyStyle>
    <p:other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ftr" sz="quarter" idx="5"/>
          </p:nvPr>
        </p:nvSpPr>
        <p:spPr>
          <a:xfrm>
            <a:off x="10067964" y="6390227"/>
            <a:ext cx="113680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a:xfrm>
            <a:off x="342901" y="6322375"/>
            <a:ext cx="1740590" cy="207749"/>
          </a:xfrm>
          <a:prstGeom prst="rect">
            <a:avLst/>
          </a:prstGeom>
        </p:spPr>
        <p:txBody>
          <a:bodyPr wrap="square" lIns="0" tIns="0" rIns="0" bIns="0" anchor="b">
            <a:spAutoFit/>
          </a:bodyPr>
          <a:lstStyle>
            <a:lvl1pPr marL="9525" algn="l" defTabSz="685800" rtl="0" eaLnBrk="1" latinLnBrk="0" hangingPunct="1">
              <a:lnSpc>
                <a:spcPct val="100000"/>
              </a:lnSpc>
              <a:spcBef>
                <a:spcPts val="90"/>
              </a:spcBef>
              <a:defRPr lang="en-US" sz="1350" b="0" i="0" kern="1200" spc="-4" smtClean="0">
                <a:solidFill>
                  <a:schemeClr val="tx1"/>
                </a:solidFill>
                <a:latin typeface="Nunito Sans" charset="0"/>
                <a:ea typeface="Nunito Sans" charset="0"/>
                <a:cs typeface="Nunito Sans" charset="0"/>
              </a:defRPr>
            </a:lvl1pPr>
          </a:lstStyle>
          <a:p>
            <a:r>
              <a:rPr lang="en-GB"/>
              <a:t>18/02/2018</a:t>
            </a:r>
            <a:endParaRPr lang="mr-IN"/>
          </a:p>
        </p:txBody>
      </p:sp>
      <p:sp>
        <p:nvSpPr>
          <p:cNvPr id="6" name="Holder 6"/>
          <p:cNvSpPr>
            <a:spLocks noGrp="1"/>
          </p:cNvSpPr>
          <p:nvPr>
            <p:ph type="sldNum" sz="quarter" idx="7"/>
          </p:nvPr>
        </p:nvSpPr>
        <p:spPr>
          <a:xfrm>
            <a:off x="11694121" y="6390227"/>
            <a:ext cx="15763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 name="Text Placeholder 1">
            <a:extLst>
              <a:ext uri="{FF2B5EF4-FFF2-40B4-BE49-F238E27FC236}">
                <a16:creationId xmlns:a16="http://schemas.microsoft.com/office/drawing/2014/main" id="{EEB9D245-AF4C-A94D-8056-49CC09246EF2}"/>
              </a:ext>
            </a:extLst>
          </p:cNvPr>
          <p:cNvSpPr>
            <a:spLocks noGrp="1"/>
          </p:cNvSpPr>
          <p:nvPr>
            <p:ph type="body" idx="1"/>
          </p:nvPr>
        </p:nvSpPr>
        <p:spPr>
          <a:xfrm>
            <a:off x="342900" y="1825229"/>
            <a:ext cx="11010900" cy="4351734"/>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Holder 2">
            <a:extLst>
              <a:ext uri="{FF2B5EF4-FFF2-40B4-BE49-F238E27FC236}">
                <a16:creationId xmlns:a16="http://schemas.microsoft.com/office/drawing/2014/main" id="{4D44D9BB-CA16-684F-99FA-C3CDDAAB6EEA}"/>
              </a:ext>
            </a:extLst>
          </p:cNvPr>
          <p:cNvSpPr txBox="1">
            <a:spLocks/>
          </p:cNvSpPr>
          <p:nvPr userDrawn="1"/>
        </p:nvSpPr>
        <p:spPr>
          <a:xfrm>
            <a:off x="345675" y="326552"/>
            <a:ext cx="5750325" cy="207749"/>
          </a:xfrm>
          <a:prstGeom prst="rect">
            <a:avLst/>
          </a:prstGeom>
        </p:spPr>
        <p:txBody>
          <a:bodyPr wrap="square" lIns="0" tIns="0" rIns="0" bIns="0" anchor="b">
            <a:spAutoFit/>
          </a:bodyPr>
          <a:lstStyle>
            <a:lvl1pPr marL="12700" algn="l" defTabSz="914400" rtl="0" eaLnBrk="1" latinLnBrk="0" hangingPunct="1">
              <a:lnSpc>
                <a:spcPct val="100000"/>
              </a:lnSpc>
              <a:spcBef>
                <a:spcPts val="100"/>
              </a:spcBef>
              <a:defRPr lang="en-US" sz="1800" b="0" i="0" kern="1200" spc="-5">
                <a:solidFill>
                  <a:schemeClr val="bg1"/>
                </a:solidFill>
                <a:latin typeface="Nunito Sans" charset="0"/>
                <a:ea typeface="Nunito Sans" charset="0"/>
                <a:cs typeface="Nunito Sans" charset="0"/>
              </a:defRPr>
            </a:lvl1pPr>
          </a:lstStyle>
          <a:p>
            <a:r>
              <a:rPr lang="en-GB" sz="1350">
                <a:solidFill>
                  <a:schemeClr val="tx1"/>
                </a:solidFill>
              </a:rPr>
              <a:t>Presentation title</a:t>
            </a:r>
          </a:p>
        </p:txBody>
      </p:sp>
      <p:sp>
        <p:nvSpPr>
          <p:cNvPr id="9" name="Holder 3">
            <a:extLst>
              <a:ext uri="{FF2B5EF4-FFF2-40B4-BE49-F238E27FC236}">
                <a16:creationId xmlns:a16="http://schemas.microsoft.com/office/drawing/2014/main" id="{A1047EC1-FDCA-904E-B3BA-BE4F586077C0}"/>
              </a:ext>
            </a:extLst>
          </p:cNvPr>
          <p:cNvSpPr txBox="1">
            <a:spLocks/>
          </p:cNvSpPr>
          <p:nvPr userDrawn="1"/>
        </p:nvSpPr>
        <p:spPr>
          <a:xfrm>
            <a:off x="345675" y="534300"/>
            <a:ext cx="5750325" cy="207749"/>
          </a:xfrm>
          <a:prstGeom prst="rect">
            <a:avLst/>
          </a:prstGeom>
        </p:spPr>
        <p:txBody>
          <a:bodyPr wrap="square" lIns="0" tIns="0" rIns="0" bIns="0" anchor="t">
            <a:spAutoFit/>
          </a:bodyPr>
          <a:lstStyle>
            <a:lvl1pPr marL="18000" indent="0" eaLnBrk="1" hangingPunct="1">
              <a:buClr>
                <a:schemeClr val="tx2"/>
              </a:buClr>
              <a:buSzPct val="125000"/>
              <a:buFont typeface="Arial" panose="020B0604020202020204" pitchFamily="34" charset="0"/>
              <a:buNone/>
              <a:defRPr lang="en-US" sz="1800" b="0" i="0" kern="1200" spc="-5" dirty="0" smtClean="0">
                <a:solidFill>
                  <a:srgbClr val="FFFFFF"/>
                </a:solidFill>
                <a:latin typeface="Nunito Sans Black" charset="0"/>
                <a:ea typeface="Nunito Sans Black" charset="0"/>
                <a:cs typeface="Nunito Sans Black" charset="0"/>
              </a:defRPr>
            </a:lvl1pPr>
            <a:lvl2pPr marL="18000" indent="0" eaLnBrk="1" hangingPunct="1">
              <a:buClr>
                <a:schemeClr val="tx2"/>
              </a:buClr>
              <a:buSzPct val="125000"/>
              <a:buFont typeface="Arial" panose="020B0604020202020204" pitchFamily="34" charset="0"/>
              <a:buNone/>
              <a:tabLst/>
              <a:defRPr sz="2400" b="0" i="0">
                <a:latin typeface="Nunito Sans Black" pitchFamily="2" charset="77"/>
                <a:ea typeface="+mn-ea"/>
                <a:cs typeface="+mn-cs"/>
              </a:defRPr>
            </a:lvl2pPr>
            <a:lvl3pPr marL="18000" indent="0" eaLnBrk="1" hangingPunct="1">
              <a:buClr>
                <a:schemeClr val="tx1"/>
              </a:buClr>
              <a:buSzPct val="125000"/>
              <a:buFont typeface="Arial" panose="020B0604020202020204" pitchFamily="34" charset="0"/>
              <a:buNone/>
              <a:tabLst/>
              <a:defRPr sz="2400">
                <a:solidFill>
                  <a:schemeClr val="tx2"/>
                </a:solidFill>
                <a:latin typeface="+mn-lt"/>
                <a:ea typeface="+mn-ea"/>
                <a:cs typeface="+mn-cs"/>
              </a:defRPr>
            </a:lvl3pPr>
            <a:lvl4pPr marL="18000" indent="0" eaLnBrk="1" hangingPunct="1">
              <a:buClr>
                <a:schemeClr val="tx1"/>
              </a:buClr>
              <a:buSzPct val="125000"/>
              <a:buFont typeface="Arial" panose="020B0604020202020204" pitchFamily="34" charset="0"/>
              <a:buNone/>
              <a:tabLst/>
              <a:defRPr sz="2400" b="0" i="0">
                <a:solidFill>
                  <a:schemeClr val="tx2"/>
                </a:solidFill>
                <a:latin typeface="Nunito Sans Black" pitchFamily="2" charset="77"/>
                <a:ea typeface="+mn-ea"/>
                <a:cs typeface="+mn-cs"/>
              </a:defRPr>
            </a:lvl4pPr>
            <a:lvl5pPr marL="18000" indent="0" eaLnBrk="1" hangingPunct="1">
              <a:spcBef>
                <a:spcPts val="2600"/>
              </a:spcBef>
              <a:buClr>
                <a:schemeClr val="tx2"/>
              </a:buClr>
              <a:buSzPct val="125000"/>
              <a:buFont typeface="Arial" panose="020B0604020202020204" pitchFamily="34" charset="0"/>
              <a:buNone/>
              <a:tabLst/>
              <a:defRPr sz="2400" b="0" i="0">
                <a:latin typeface="Nunito Sans Black" pitchFamily="2" charset="77"/>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marL="9525" algn="l" rtl="0">
              <a:spcBef>
                <a:spcPts val="30"/>
              </a:spcBef>
            </a:pPr>
            <a:r>
              <a:rPr lang="en-GB" sz="1350">
                <a:solidFill>
                  <a:schemeClr val="tx1"/>
                </a:solidFill>
              </a:rPr>
              <a:t>Page heading</a:t>
            </a:r>
          </a:p>
        </p:txBody>
      </p:sp>
    </p:spTree>
    <p:extLst>
      <p:ext uri="{BB962C8B-B14F-4D97-AF65-F5344CB8AC3E}">
        <p14:creationId xmlns:p14="http://schemas.microsoft.com/office/powerpoint/2010/main" val="49310070"/>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4" r:id="rId4"/>
    <p:sldLayoutId id="2147484045" r:id="rId5"/>
    <p:sldLayoutId id="2147484046" r:id="rId6"/>
    <p:sldLayoutId id="2147484047" r:id="rId7"/>
    <p:sldLayoutId id="2147484048" r:id="rId8"/>
    <p:sldLayoutId id="2147484049" r:id="rId9"/>
    <p:sldLayoutId id="2147484050" r:id="rId10"/>
    <p:sldLayoutId id="2147484051" r:id="rId11"/>
    <p:sldLayoutId id="2147484052" r:id="rId12"/>
    <p:sldLayoutId id="2147484053" r:id="rId13"/>
    <p:sldLayoutId id="2147484054" r:id="rId14"/>
    <p:sldLayoutId id="2147484055" r:id="rId15"/>
    <p:sldLayoutId id="2147484056" r:id="rId16"/>
    <p:sldLayoutId id="2147484057" r:id="rId17"/>
    <p:sldLayoutId id="2147484058" r:id="rId18"/>
    <p:sldLayoutId id="2147484059" r:id="rId19"/>
    <p:sldLayoutId id="2147484060" r:id="rId20"/>
    <p:sldLayoutId id="2147484061" r:id="rId21"/>
    <p:sldLayoutId id="2147484062" r:id="rId22"/>
    <p:sldLayoutId id="2147484063" r:id="rId23"/>
    <p:sldLayoutId id="2147484064"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82" r:id="rId42"/>
    <p:sldLayoutId id="2147484083" r:id="rId43"/>
    <p:sldLayoutId id="2147484084" r:id="rId44"/>
    <p:sldLayoutId id="2147484085" r:id="rId45"/>
    <p:sldLayoutId id="2147484086" r:id="rId46"/>
    <p:sldLayoutId id="2147484087" r:id="rId47"/>
    <p:sldLayoutId id="2147484088" r:id="rId48"/>
    <p:sldLayoutId id="2147484089" r:id="rId49"/>
    <p:sldLayoutId id="2147484090" r:id="rId50"/>
    <p:sldLayoutId id="2147484091" r:id="rId51"/>
    <p:sldLayoutId id="2147484092" r:id="rId52"/>
    <p:sldLayoutId id="2147484093" r:id="rId53"/>
    <p:sldLayoutId id="2147484094" r:id="rId54"/>
    <p:sldLayoutId id="2147484095" r:id="rId55"/>
    <p:sldLayoutId id="2147484096" r:id="rId56"/>
    <p:sldLayoutId id="2147484097" r:id="rId57"/>
    <p:sldLayoutId id="2147484098" r:id="rId58"/>
    <p:sldLayoutId id="2147484099" r:id="rId59"/>
    <p:sldLayoutId id="2147484100" r:id="rId60"/>
    <p:sldLayoutId id="2147484101" r:id="rId61"/>
    <p:sldLayoutId id="2147484102" r:id="rId62"/>
    <p:sldLayoutId id="2147484103" r:id="rId63"/>
    <p:sldLayoutId id="2147484104" r:id="rId64"/>
    <p:sldLayoutId id="2147484105" r:id="rId65"/>
    <p:sldLayoutId id="2147484106" r:id="rId66"/>
    <p:sldLayoutId id="2147484107" r:id="rId67"/>
    <p:sldLayoutId id="2147484108" r:id="rId68"/>
    <p:sldLayoutId id="2147484109" r:id="rId69"/>
    <p:sldLayoutId id="2147484110" r:id="rId70"/>
    <p:sldLayoutId id="2147484111" r:id="rId71"/>
    <p:sldLayoutId id="2147484112" r:id="rId72"/>
    <p:sldLayoutId id="2147484113" r:id="rId73"/>
    <p:sldLayoutId id="2147484114" r:id="rId74"/>
    <p:sldLayoutId id="2147484115" r:id="rId75"/>
    <p:sldLayoutId id="2147484116" r:id="rId76"/>
    <p:sldLayoutId id="2147484117" r:id="rId77"/>
    <p:sldLayoutId id="2147484118" r:id="rId78"/>
    <p:sldLayoutId id="2147484119" r:id="rId79"/>
    <p:sldLayoutId id="2147484120" r:id="rId80"/>
    <p:sldLayoutId id="2147484121" r:id="rId81"/>
    <p:sldLayoutId id="2147484122" r:id="rId82"/>
    <p:sldLayoutId id="2147484123" r:id="rId83"/>
    <p:sldLayoutId id="2147484124" r:id="rId84"/>
    <p:sldLayoutId id="2147484125" r:id="rId85"/>
    <p:sldLayoutId id="2147484126" r:id="rId86"/>
    <p:sldLayoutId id="2147484127" r:id="rId87"/>
    <p:sldLayoutId id="2147484128" r:id="rId88"/>
    <p:sldLayoutId id="2147484129" r:id="rId89"/>
    <p:sldLayoutId id="2147484130" r:id="rId90"/>
    <p:sldLayoutId id="2147484131" r:id="rId91"/>
    <p:sldLayoutId id="2147484132" r:id="rId92"/>
    <p:sldLayoutId id="2147484133" r:id="rId93"/>
    <p:sldLayoutId id="2147484134" r:id="rId94"/>
    <p:sldLayoutId id="2147484135" r:id="rId95"/>
    <p:sldLayoutId id="2147484136" r:id="rId96"/>
    <p:sldLayoutId id="2147484137" r:id="rId97"/>
  </p:sldLayoutIdLst>
  <p:txStyles>
    <p:titleStyle>
      <a:lvl1pPr marL="9525" algn="l" defTabSz="685800" rtl="0" eaLnBrk="1" latinLnBrk="0" hangingPunct="1">
        <a:lnSpc>
          <a:spcPct val="100000"/>
        </a:lnSpc>
        <a:spcBef>
          <a:spcPts val="75"/>
        </a:spcBef>
        <a:defRPr lang="en-US" sz="1350" b="0" i="0" kern="1200" spc="-4" dirty="0" smtClean="0">
          <a:solidFill>
            <a:schemeClr val="tx1"/>
          </a:solidFill>
          <a:latin typeface="Nunito Sans" charset="0"/>
          <a:ea typeface="Nunito Sans" charset="0"/>
          <a:cs typeface="Nunito Sans" charset="0"/>
        </a:defRPr>
      </a:lvl1pPr>
    </p:titleStyle>
    <p:bodyStyle>
      <a:lvl1pPr marL="133200" indent="-122400" eaLnBrk="1" hangingPunct="1">
        <a:buClr>
          <a:schemeClr val="tx2"/>
        </a:buClr>
        <a:buSzPct val="125000"/>
        <a:buFont typeface="Arial" panose="020B0604020202020204" pitchFamily="34" charset="0"/>
        <a:buChar char="•"/>
        <a:tabLst/>
        <a:defRPr sz="1800" b="0" i="0">
          <a:latin typeface="Nunito Sans" charset="0"/>
          <a:ea typeface="Nunito Sans" charset="0"/>
          <a:cs typeface="Nunito Sans" charset="0"/>
        </a:defRPr>
      </a:lvl1pPr>
      <a:lvl2pPr marL="133200" indent="-122400" eaLnBrk="1" hangingPunct="1">
        <a:buClr>
          <a:schemeClr val="tx2"/>
        </a:buClr>
        <a:buSzPct val="125000"/>
        <a:buFont typeface="Arial" panose="020B0604020202020204" pitchFamily="34" charset="0"/>
        <a:buChar char="•"/>
        <a:tabLst/>
        <a:defRPr sz="1800" b="0" i="0">
          <a:latin typeface="Nunito Sans Black" pitchFamily="2" charset="77"/>
          <a:ea typeface="+mn-ea"/>
          <a:cs typeface="+mn-cs"/>
        </a:defRPr>
      </a:lvl2pPr>
      <a:lvl3pPr marL="133200" indent="-122400" eaLnBrk="1" hangingPunct="1">
        <a:buClr>
          <a:schemeClr val="tx1"/>
        </a:buClr>
        <a:buSzPct val="125000"/>
        <a:buFont typeface="Arial" panose="020B0604020202020204" pitchFamily="34" charset="0"/>
        <a:buChar char="•"/>
        <a:tabLst/>
        <a:defRPr sz="1800">
          <a:solidFill>
            <a:schemeClr val="tx2"/>
          </a:solidFill>
          <a:latin typeface="+mn-lt"/>
          <a:ea typeface="+mn-ea"/>
          <a:cs typeface="+mn-cs"/>
        </a:defRPr>
      </a:lvl3pPr>
      <a:lvl4pPr marL="133200" indent="-122400" eaLnBrk="1" hangingPunct="1">
        <a:buClr>
          <a:schemeClr val="tx1"/>
        </a:buClr>
        <a:buSzPct val="125000"/>
        <a:buFont typeface="Arial" panose="020B0604020202020204" pitchFamily="34" charset="0"/>
        <a:buChar char="•"/>
        <a:tabLst/>
        <a:defRPr sz="1800" b="0" i="0">
          <a:solidFill>
            <a:schemeClr val="tx2"/>
          </a:solidFill>
          <a:latin typeface="Nunito Sans Black" pitchFamily="2" charset="77"/>
          <a:ea typeface="+mn-ea"/>
          <a:cs typeface="+mn-cs"/>
        </a:defRPr>
      </a:lvl4pPr>
      <a:lvl5pPr marL="133200" indent="-122400" eaLnBrk="1" hangingPunct="1">
        <a:spcBef>
          <a:spcPts val="1950"/>
        </a:spcBef>
        <a:buClr>
          <a:schemeClr val="tx2"/>
        </a:buClr>
        <a:buSzPct val="125000"/>
        <a:buFont typeface="Arial" panose="020B0604020202020204" pitchFamily="34" charset="0"/>
        <a:buChar char="•"/>
        <a:tabLst/>
        <a:defRPr sz="1800" b="0" i="0">
          <a:latin typeface="Nunito Sans Black" pitchFamily="2" charset="77"/>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bodyStyle>
    <p:otherStyle>
      <a:lvl1pPr marL="0" eaLnBrk="1" hangingPunct="1">
        <a:defRPr>
          <a:latin typeface="+mn-lt"/>
          <a:ea typeface="+mn-ea"/>
          <a:cs typeface="+mn-cs"/>
        </a:defRPr>
      </a:lvl1pPr>
      <a:lvl2pPr marL="342900" eaLnBrk="1" hangingPunct="1">
        <a:defRPr>
          <a:latin typeface="+mn-lt"/>
          <a:ea typeface="+mn-ea"/>
          <a:cs typeface="+mn-cs"/>
        </a:defRPr>
      </a:lvl2pPr>
      <a:lvl3pPr marL="685800" eaLnBrk="1" hangingPunct="1">
        <a:defRPr>
          <a:latin typeface="+mn-lt"/>
          <a:ea typeface="+mn-ea"/>
          <a:cs typeface="+mn-cs"/>
        </a:defRPr>
      </a:lvl3pPr>
      <a:lvl4pPr marL="1028700" eaLnBrk="1" hangingPunct="1">
        <a:defRPr>
          <a:latin typeface="+mn-lt"/>
          <a:ea typeface="+mn-ea"/>
          <a:cs typeface="+mn-cs"/>
        </a:defRPr>
      </a:lvl4pPr>
      <a:lvl5pPr marL="1371600" eaLnBrk="1" hangingPunct="1">
        <a:defRPr>
          <a:latin typeface="+mn-lt"/>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27">
          <p15:clr>
            <a:srgbClr val="F26B43"/>
          </p15:clr>
        </p15:guide>
        <p15:guide id="3" orient="horz" pos="4163">
          <p15:clr>
            <a:srgbClr val="F26B43"/>
          </p15:clr>
        </p15:guide>
        <p15:guide id="4" orient="horz" pos="227">
          <p15:clr>
            <a:srgbClr val="F26B43"/>
          </p15:clr>
        </p15:guide>
        <p15:guide id="5" pos="7452">
          <p15:clr>
            <a:srgbClr val="F26B43"/>
          </p15:clr>
        </p15:guide>
        <p15:guide id="6" orient="horz" pos="21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ftr" sz="quarter" idx="5"/>
          </p:nvPr>
        </p:nvSpPr>
        <p:spPr>
          <a:xfrm>
            <a:off x="10067964" y="6390227"/>
            <a:ext cx="113680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a:xfrm>
            <a:off x="342901" y="6322375"/>
            <a:ext cx="1740590" cy="207749"/>
          </a:xfrm>
          <a:prstGeom prst="rect">
            <a:avLst/>
          </a:prstGeom>
        </p:spPr>
        <p:txBody>
          <a:bodyPr wrap="square" lIns="0" tIns="0" rIns="0" bIns="0" anchor="b">
            <a:spAutoFit/>
          </a:bodyPr>
          <a:lstStyle>
            <a:lvl1pPr marL="9525" algn="l" defTabSz="685800" rtl="0" eaLnBrk="1" latinLnBrk="0" hangingPunct="1">
              <a:lnSpc>
                <a:spcPct val="100000"/>
              </a:lnSpc>
              <a:spcBef>
                <a:spcPts val="90"/>
              </a:spcBef>
              <a:defRPr lang="en-US" sz="1350" b="0" i="0" kern="1200" spc="-4" smtClean="0">
                <a:solidFill>
                  <a:schemeClr val="tx1"/>
                </a:solidFill>
                <a:latin typeface="Nunito Sans" charset="0"/>
                <a:ea typeface="Nunito Sans" charset="0"/>
                <a:cs typeface="Nunito Sans" charset="0"/>
              </a:defRPr>
            </a:lvl1pPr>
          </a:lstStyle>
          <a:p>
            <a:r>
              <a:rPr lang="en-GB">
                <a:solidFill>
                  <a:srgbClr val="000000"/>
                </a:solidFill>
              </a:rPr>
              <a:t>18/02/2018</a:t>
            </a:r>
            <a:endParaRPr lang="mr-IN">
              <a:solidFill>
                <a:srgbClr val="000000"/>
              </a:solidFill>
            </a:endParaRPr>
          </a:p>
        </p:txBody>
      </p:sp>
      <p:sp>
        <p:nvSpPr>
          <p:cNvPr id="6" name="Holder 6"/>
          <p:cNvSpPr>
            <a:spLocks noGrp="1"/>
          </p:cNvSpPr>
          <p:nvPr>
            <p:ph type="sldNum" sz="quarter" idx="7"/>
          </p:nvPr>
        </p:nvSpPr>
        <p:spPr>
          <a:xfrm>
            <a:off x="11694121" y="6390227"/>
            <a:ext cx="15763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2" name="Text Placeholder 1">
            <a:extLst>
              <a:ext uri="{FF2B5EF4-FFF2-40B4-BE49-F238E27FC236}">
                <a16:creationId xmlns:a16="http://schemas.microsoft.com/office/drawing/2014/main" id="{EEB9D245-AF4C-A94D-8056-49CC09246EF2}"/>
              </a:ext>
            </a:extLst>
          </p:cNvPr>
          <p:cNvSpPr>
            <a:spLocks noGrp="1"/>
          </p:cNvSpPr>
          <p:nvPr>
            <p:ph type="body" idx="1"/>
          </p:nvPr>
        </p:nvSpPr>
        <p:spPr>
          <a:xfrm>
            <a:off x="342900" y="1825229"/>
            <a:ext cx="11010900" cy="4351734"/>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Holder 2">
            <a:extLst>
              <a:ext uri="{FF2B5EF4-FFF2-40B4-BE49-F238E27FC236}">
                <a16:creationId xmlns:a16="http://schemas.microsoft.com/office/drawing/2014/main" id="{4D44D9BB-CA16-684F-99FA-C3CDDAAB6EEA}"/>
              </a:ext>
            </a:extLst>
          </p:cNvPr>
          <p:cNvSpPr txBox="1">
            <a:spLocks/>
          </p:cNvSpPr>
          <p:nvPr userDrawn="1"/>
        </p:nvSpPr>
        <p:spPr>
          <a:xfrm>
            <a:off x="345675" y="326552"/>
            <a:ext cx="5750325" cy="207749"/>
          </a:xfrm>
          <a:prstGeom prst="rect">
            <a:avLst/>
          </a:prstGeom>
        </p:spPr>
        <p:txBody>
          <a:bodyPr wrap="square" lIns="0" tIns="0" rIns="0" bIns="0" anchor="b">
            <a:spAutoFit/>
          </a:bodyPr>
          <a:lstStyle>
            <a:lvl1pPr marL="12700" algn="l" defTabSz="914400" rtl="0" eaLnBrk="1" latinLnBrk="0" hangingPunct="1">
              <a:lnSpc>
                <a:spcPct val="100000"/>
              </a:lnSpc>
              <a:spcBef>
                <a:spcPts val="100"/>
              </a:spcBef>
              <a:defRPr lang="en-US" sz="1800" b="0" i="0" kern="1200" spc="-5">
                <a:solidFill>
                  <a:schemeClr val="bg1"/>
                </a:solidFill>
                <a:latin typeface="Nunito Sans" charset="0"/>
                <a:ea typeface="Nunito Sans" charset="0"/>
                <a:cs typeface="Nunito Sans" charset="0"/>
              </a:defRPr>
            </a:lvl1pPr>
          </a:lstStyle>
          <a:p>
            <a:r>
              <a:rPr lang="en-GB" sz="1350">
                <a:solidFill>
                  <a:srgbClr val="000000"/>
                </a:solidFill>
              </a:rPr>
              <a:t>Presentation title</a:t>
            </a:r>
          </a:p>
        </p:txBody>
      </p:sp>
      <p:sp>
        <p:nvSpPr>
          <p:cNvPr id="9" name="Holder 3">
            <a:extLst>
              <a:ext uri="{FF2B5EF4-FFF2-40B4-BE49-F238E27FC236}">
                <a16:creationId xmlns:a16="http://schemas.microsoft.com/office/drawing/2014/main" id="{A1047EC1-FDCA-904E-B3BA-BE4F586077C0}"/>
              </a:ext>
            </a:extLst>
          </p:cNvPr>
          <p:cNvSpPr txBox="1">
            <a:spLocks/>
          </p:cNvSpPr>
          <p:nvPr userDrawn="1"/>
        </p:nvSpPr>
        <p:spPr>
          <a:xfrm>
            <a:off x="345675" y="534300"/>
            <a:ext cx="5750325" cy="207749"/>
          </a:xfrm>
          <a:prstGeom prst="rect">
            <a:avLst/>
          </a:prstGeom>
        </p:spPr>
        <p:txBody>
          <a:bodyPr wrap="square" lIns="0" tIns="0" rIns="0" bIns="0" anchor="t">
            <a:spAutoFit/>
          </a:bodyPr>
          <a:lstStyle>
            <a:lvl1pPr marL="18000" indent="0" eaLnBrk="1" hangingPunct="1">
              <a:buClr>
                <a:schemeClr val="tx2"/>
              </a:buClr>
              <a:buSzPct val="125000"/>
              <a:buFont typeface="Arial" panose="020B0604020202020204" pitchFamily="34" charset="0"/>
              <a:buNone/>
              <a:defRPr lang="en-US" sz="1800" b="0" i="0" kern="1200" spc="-5" dirty="0" smtClean="0">
                <a:solidFill>
                  <a:srgbClr val="FFFFFF"/>
                </a:solidFill>
                <a:latin typeface="Nunito Sans Black" charset="0"/>
                <a:ea typeface="Nunito Sans Black" charset="0"/>
                <a:cs typeface="Nunito Sans Black" charset="0"/>
              </a:defRPr>
            </a:lvl1pPr>
            <a:lvl2pPr marL="18000" indent="0" eaLnBrk="1" hangingPunct="1">
              <a:buClr>
                <a:schemeClr val="tx2"/>
              </a:buClr>
              <a:buSzPct val="125000"/>
              <a:buFont typeface="Arial" panose="020B0604020202020204" pitchFamily="34" charset="0"/>
              <a:buNone/>
              <a:tabLst/>
              <a:defRPr sz="2400" b="0" i="0">
                <a:latin typeface="Nunito Sans Black" pitchFamily="2" charset="77"/>
                <a:ea typeface="+mn-ea"/>
                <a:cs typeface="+mn-cs"/>
              </a:defRPr>
            </a:lvl2pPr>
            <a:lvl3pPr marL="18000" indent="0" eaLnBrk="1" hangingPunct="1">
              <a:buClr>
                <a:schemeClr val="tx1"/>
              </a:buClr>
              <a:buSzPct val="125000"/>
              <a:buFont typeface="Arial" panose="020B0604020202020204" pitchFamily="34" charset="0"/>
              <a:buNone/>
              <a:tabLst/>
              <a:defRPr sz="2400">
                <a:solidFill>
                  <a:schemeClr val="tx2"/>
                </a:solidFill>
                <a:latin typeface="+mn-lt"/>
                <a:ea typeface="+mn-ea"/>
                <a:cs typeface="+mn-cs"/>
              </a:defRPr>
            </a:lvl3pPr>
            <a:lvl4pPr marL="18000" indent="0" eaLnBrk="1" hangingPunct="1">
              <a:buClr>
                <a:schemeClr val="tx1"/>
              </a:buClr>
              <a:buSzPct val="125000"/>
              <a:buFont typeface="Arial" panose="020B0604020202020204" pitchFamily="34" charset="0"/>
              <a:buNone/>
              <a:tabLst/>
              <a:defRPr sz="2400" b="0" i="0">
                <a:solidFill>
                  <a:schemeClr val="tx2"/>
                </a:solidFill>
                <a:latin typeface="Nunito Sans Black" pitchFamily="2" charset="77"/>
                <a:ea typeface="+mn-ea"/>
                <a:cs typeface="+mn-cs"/>
              </a:defRPr>
            </a:lvl4pPr>
            <a:lvl5pPr marL="18000" indent="0" eaLnBrk="1" hangingPunct="1">
              <a:spcBef>
                <a:spcPts val="2600"/>
              </a:spcBef>
              <a:buClr>
                <a:schemeClr val="tx2"/>
              </a:buClr>
              <a:buSzPct val="125000"/>
              <a:buFont typeface="Arial" panose="020B0604020202020204" pitchFamily="34" charset="0"/>
              <a:buNone/>
              <a:tabLst/>
              <a:defRPr sz="2400" b="0" i="0">
                <a:latin typeface="Nunito Sans Black" pitchFamily="2" charset="77"/>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marL="9525">
              <a:spcBef>
                <a:spcPts val="30"/>
              </a:spcBef>
              <a:buClr>
                <a:srgbClr val="7414DC"/>
              </a:buClr>
            </a:pPr>
            <a:r>
              <a:rPr lang="en-GB" sz="1350">
                <a:solidFill>
                  <a:srgbClr val="000000"/>
                </a:solidFill>
              </a:rPr>
              <a:t>Page heading</a:t>
            </a:r>
          </a:p>
        </p:txBody>
      </p:sp>
    </p:spTree>
    <p:extLst>
      <p:ext uri="{BB962C8B-B14F-4D97-AF65-F5344CB8AC3E}">
        <p14:creationId xmlns:p14="http://schemas.microsoft.com/office/powerpoint/2010/main" val="2823719721"/>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57" r:id="rId19"/>
    <p:sldLayoutId id="2147484158" r:id="rId20"/>
    <p:sldLayoutId id="2147484159" r:id="rId21"/>
    <p:sldLayoutId id="2147484160" r:id="rId22"/>
    <p:sldLayoutId id="2147484161" r:id="rId23"/>
    <p:sldLayoutId id="2147484162" r:id="rId24"/>
    <p:sldLayoutId id="2147484163" r:id="rId25"/>
    <p:sldLayoutId id="2147484164" r:id="rId26"/>
    <p:sldLayoutId id="2147484165" r:id="rId27"/>
    <p:sldLayoutId id="2147484166" r:id="rId28"/>
    <p:sldLayoutId id="2147484167" r:id="rId29"/>
    <p:sldLayoutId id="2147484168" r:id="rId30"/>
    <p:sldLayoutId id="2147484169" r:id="rId31"/>
    <p:sldLayoutId id="2147484170" r:id="rId32"/>
    <p:sldLayoutId id="2147484171" r:id="rId33"/>
    <p:sldLayoutId id="2147484172" r:id="rId34"/>
    <p:sldLayoutId id="2147484173" r:id="rId35"/>
    <p:sldLayoutId id="2147484174" r:id="rId36"/>
    <p:sldLayoutId id="2147484175" r:id="rId37"/>
    <p:sldLayoutId id="2147484176" r:id="rId38"/>
    <p:sldLayoutId id="2147484177" r:id="rId39"/>
    <p:sldLayoutId id="2147484178" r:id="rId40"/>
    <p:sldLayoutId id="2147484179" r:id="rId41"/>
    <p:sldLayoutId id="2147484180" r:id="rId42"/>
    <p:sldLayoutId id="2147484181" r:id="rId43"/>
    <p:sldLayoutId id="2147484182" r:id="rId44"/>
    <p:sldLayoutId id="2147484183" r:id="rId45"/>
    <p:sldLayoutId id="2147484184" r:id="rId46"/>
    <p:sldLayoutId id="2147484185" r:id="rId47"/>
    <p:sldLayoutId id="2147484186" r:id="rId48"/>
    <p:sldLayoutId id="2147484187" r:id="rId49"/>
    <p:sldLayoutId id="2147484188" r:id="rId50"/>
    <p:sldLayoutId id="2147484189" r:id="rId51"/>
    <p:sldLayoutId id="2147484190" r:id="rId52"/>
    <p:sldLayoutId id="2147484191" r:id="rId53"/>
    <p:sldLayoutId id="2147484192" r:id="rId54"/>
    <p:sldLayoutId id="2147484193" r:id="rId55"/>
    <p:sldLayoutId id="2147484194" r:id="rId56"/>
    <p:sldLayoutId id="2147484195" r:id="rId57"/>
    <p:sldLayoutId id="2147484196" r:id="rId58"/>
    <p:sldLayoutId id="2147484197" r:id="rId59"/>
    <p:sldLayoutId id="2147484198" r:id="rId60"/>
    <p:sldLayoutId id="2147484199" r:id="rId61"/>
    <p:sldLayoutId id="2147484200" r:id="rId62"/>
    <p:sldLayoutId id="2147484201" r:id="rId63"/>
    <p:sldLayoutId id="2147484202" r:id="rId64"/>
    <p:sldLayoutId id="2147484203" r:id="rId65"/>
    <p:sldLayoutId id="2147484204" r:id="rId66"/>
    <p:sldLayoutId id="2147484205" r:id="rId67"/>
    <p:sldLayoutId id="2147484206" r:id="rId68"/>
    <p:sldLayoutId id="2147484207" r:id="rId69"/>
    <p:sldLayoutId id="2147484208" r:id="rId70"/>
    <p:sldLayoutId id="2147484209" r:id="rId71"/>
    <p:sldLayoutId id="2147484210" r:id="rId72"/>
    <p:sldLayoutId id="2147484211" r:id="rId73"/>
    <p:sldLayoutId id="2147484212" r:id="rId74"/>
    <p:sldLayoutId id="2147484213" r:id="rId75"/>
    <p:sldLayoutId id="2147484214" r:id="rId76"/>
    <p:sldLayoutId id="2147484215" r:id="rId77"/>
    <p:sldLayoutId id="2147484216" r:id="rId78"/>
    <p:sldLayoutId id="2147484217" r:id="rId79"/>
    <p:sldLayoutId id="2147484218" r:id="rId80"/>
    <p:sldLayoutId id="2147484219" r:id="rId81"/>
    <p:sldLayoutId id="2147484220" r:id="rId82"/>
    <p:sldLayoutId id="2147484221" r:id="rId83"/>
    <p:sldLayoutId id="2147484222" r:id="rId84"/>
    <p:sldLayoutId id="2147484223" r:id="rId85"/>
    <p:sldLayoutId id="2147484224" r:id="rId86"/>
    <p:sldLayoutId id="2147484225" r:id="rId87"/>
    <p:sldLayoutId id="2147484226" r:id="rId88"/>
    <p:sldLayoutId id="2147484227" r:id="rId89"/>
    <p:sldLayoutId id="2147484228" r:id="rId90"/>
    <p:sldLayoutId id="2147484229" r:id="rId91"/>
    <p:sldLayoutId id="2147484230" r:id="rId92"/>
    <p:sldLayoutId id="2147484231" r:id="rId93"/>
    <p:sldLayoutId id="2147484232" r:id="rId94"/>
    <p:sldLayoutId id="2147484233" r:id="rId95"/>
    <p:sldLayoutId id="2147484234" r:id="rId96"/>
    <p:sldLayoutId id="2147484235" r:id="rId97"/>
    <p:sldLayoutId id="2147484236" r:id="rId98"/>
  </p:sldLayoutIdLst>
  <p:txStyles>
    <p:titleStyle>
      <a:lvl1pPr marL="9525" algn="l" defTabSz="685800" rtl="0" eaLnBrk="1" latinLnBrk="0" hangingPunct="1">
        <a:lnSpc>
          <a:spcPct val="100000"/>
        </a:lnSpc>
        <a:spcBef>
          <a:spcPts val="75"/>
        </a:spcBef>
        <a:defRPr lang="en-US" sz="1350" b="0" i="0" kern="1200" spc="-4" dirty="0" smtClean="0">
          <a:solidFill>
            <a:schemeClr val="tx1"/>
          </a:solidFill>
          <a:latin typeface="Nunito Sans" charset="0"/>
          <a:ea typeface="Nunito Sans" charset="0"/>
          <a:cs typeface="Nunito Sans" charset="0"/>
        </a:defRPr>
      </a:lvl1pPr>
    </p:titleStyle>
    <p:bodyStyle>
      <a:lvl1pPr marL="133200" indent="-122400" eaLnBrk="1" hangingPunct="1">
        <a:buClr>
          <a:schemeClr val="tx2"/>
        </a:buClr>
        <a:buSzPct val="125000"/>
        <a:buFont typeface="Arial" panose="020B0604020202020204" pitchFamily="34" charset="0"/>
        <a:buChar char="•"/>
        <a:tabLst/>
        <a:defRPr sz="1800" b="0" i="0">
          <a:latin typeface="Nunito Sans" charset="0"/>
          <a:ea typeface="Nunito Sans" charset="0"/>
          <a:cs typeface="Nunito Sans" charset="0"/>
        </a:defRPr>
      </a:lvl1pPr>
      <a:lvl2pPr marL="133200" indent="-122400" eaLnBrk="1" hangingPunct="1">
        <a:buClr>
          <a:schemeClr val="tx2"/>
        </a:buClr>
        <a:buSzPct val="125000"/>
        <a:buFont typeface="Arial" panose="020B0604020202020204" pitchFamily="34" charset="0"/>
        <a:buChar char="•"/>
        <a:tabLst/>
        <a:defRPr sz="1800" b="0" i="0">
          <a:latin typeface="Nunito Sans Black" pitchFamily="2" charset="77"/>
          <a:ea typeface="+mn-ea"/>
          <a:cs typeface="+mn-cs"/>
        </a:defRPr>
      </a:lvl2pPr>
      <a:lvl3pPr marL="133200" indent="-122400" eaLnBrk="1" hangingPunct="1">
        <a:buClr>
          <a:schemeClr val="tx1"/>
        </a:buClr>
        <a:buSzPct val="125000"/>
        <a:buFont typeface="Arial" panose="020B0604020202020204" pitchFamily="34" charset="0"/>
        <a:buChar char="•"/>
        <a:tabLst/>
        <a:defRPr sz="1800">
          <a:solidFill>
            <a:schemeClr val="tx2"/>
          </a:solidFill>
          <a:latin typeface="+mn-lt"/>
          <a:ea typeface="+mn-ea"/>
          <a:cs typeface="+mn-cs"/>
        </a:defRPr>
      </a:lvl3pPr>
      <a:lvl4pPr marL="133200" indent="-122400" eaLnBrk="1" hangingPunct="1">
        <a:buClr>
          <a:schemeClr val="tx1"/>
        </a:buClr>
        <a:buSzPct val="125000"/>
        <a:buFont typeface="Arial" panose="020B0604020202020204" pitchFamily="34" charset="0"/>
        <a:buChar char="•"/>
        <a:tabLst/>
        <a:defRPr sz="1800" b="0" i="0">
          <a:solidFill>
            <a:schemeClr val="tx2"/>
          </a:solidFill>
          <a:latin typeface="Nunito Sans Black" pitchFamily="2" charset="77"/>
          <a:ea typeface="+mn-ea"/>
          <a:cs typeface="+mn-cs"/>
        </a:defRPr>
      </a:lvl4pPr>
      <a:lvl5pPr marL="133200" indent="-122400" eaLnBrk="1" hangingPunct="1">
        <a:spcBef>
          <a:spcPts val="1950"/>
        </a:spcBef>
        <a:buClr>
          <a:schemeClr val="tx2"/>
        </a:buClr>
        <a:buSzPct val="125000"/>
        <a:buFont typeface="Arial" panose="020B0604020202020204" pitchFamily="34" charset="0"/>
        <a:buChar char="•"/>
        <a:tabLst/>
        <a:defRPr sz="1800" b="0" i="0">
          <a:latin typeface="Nunito Sans Black" pitchFamily="2" charset="77"/>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bodyStyle>
    <p:otherStyle>
      <a:lvl1pPr marL="0" eaLnBrk="1" hangingPunct="1">
        <a:defRPr>
          <a:latin typeface="+mn-lt"/>
          <a:ea typeface="+mn-ea"/>
          <a:cs typeface="+mn-cs"/>
        </a:defRPr>
      </a:lvl1pPr>
      <a:lvl2pPr marL="342900" eaLnBrk="1" hangingPunct="1">
        <a:defRPr>
          <a:latin typeface="+mn-lt"/>
          <a:ea typeface="+mn-ea"/>
          <a:cs typeface="+mn-cs"/>
        </a:defRPr>
      </a:lvl2pPr>
      <a:lvl3pPr marL="685800" eaLnBrk="1" hangingPunct="1">
        <a:defRPr>
          <a:latin typeface="+mn-lt"/>
          <a:ea typeface="+mn-ea"/>
          <a:cs typeface="+mn-cs"/>
        </a:defRPr>
      </a:lvl3pPr>
      <a:lvl4pPr marL="1028700" eaLnBrk="1" hangingPunct="1">
        <a:defRPr>
          <a:latin typeface="+mn-lt"/>
          <a:ea typeface="+mn-ea"/>
          <a:cs typeface="+mn-cs"/>
        </a:defRPr>
      </a:lvl4pPr>
      <a:lvl5pPr marL="1371600" eaLnBrk="1" hangingPunct="1">
        <a:defRPr>
          <a:latin typeface="+mn-lt"/>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27">
          <p15:clr>
            <a:srgbClr val="F26B43"/>
          </p15:clr>
        </p15:guide>
        <p15:guide id="3" orient="horz" pos="4163">
          <p15:clr>
            <a:srgbClr val="F26B43"/>
          </p15:clr>
        </p15:guide>
        <p15:guide id="4" orient="horz" pos="227">
          <p15:clr>
            <a:srgbClr val="F26B43"/>
          </p15:clr>
        </p15:guide>
        <p15:guide id="5" pos="7452">
          <p15:clr>
            <a:srgbClr val="F26B43"/>
          </p15:clr>
        </p15:guide>
        <p15:guide id="6" orient="horz" pos="216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2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2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2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1.xml"/><Relationship Id="rId1" Type="http://schemas.openxmlformats.org/officeDocument/2006/relationships/slideLayout" Target="../slideLayouts/slideLayout2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2.xml"/><Relationship Id="rId1" Type="http://schemas.openxmlformats.org/officeDocument/2006/relationships/slideLayout" Target="../slideLayouts/slideLayout28.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275.xml"/></Relationships>
</file>

<file path=ppt/slides/_rels/slide1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5.xml"/><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6.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xml"/><Relationship Id="rId1" Type="http://schemas.openxmlformats.org/officeDocument/2006/relationships/slideLayout" Target="../slideLayouts/slideLayout149.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13.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0.xml"/><Relationship Id="rId1" Type="http://schemas.openxmlformats.org/officeDocument/2006/relationships/slideLayout" Target="../slideLayouts/slideLayout28.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1.xml"/><Relationship Id="rId1" Type="http://schemas.openxmlformats.org/officeDocument/2006/relationships/slideLayout" Target="../slideLayouts/slideLayout28.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4.xml"/><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25.xml"/><Relationship Id="rId1" Type="http://schemas.openxmlformats.org/officeDocument/2006/relationships/slideLayout" Target="../slideLayouts/slideLayout13.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slides/_rels/slide3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6.xml"/><Relationship Id="rId1" Type="http://schemas.openxmlformats.org/officeDocument/2006/relationships/slideLayout" Target="../slideLayouts/slideLayout63.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1.svg"/></Relationships>
</file>

<file path=ppt/slides/_rels/slide33.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27.xml"/><Relationship Id="rId1" Type="http://schemas.openxmlformats.org/officeDocument/2006/relationships/slideLayout" Target="../slideLayouts/slideLayout85.xml"/></Relationships>
</file>

<file path=ppt/slides/_rels/slide3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8.xml"/><Relationship Id="rId1" Type="http://schemas.openxmlformats.org/officeDocument/2006/relationships/slideLayout" Target="../slideLayouts/slideLayout63.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56.sv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3.xml"/></Relationships>
</file>

<file path=ppt/slides/_rels/slide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4.xml"/><Relationship Id="rId1" Type="http://schemas.openxmlformats.org/officeDocument/2006/relationships/slideLayout" Target="../slideLayouts/slideLayout27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5.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2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C1EAEB7-B331-C443-8021-BFFE8DD4BBBE}"/>
              </a:ext>
            </a:extLst>
          </p:cNvPr>
          <p:cNvSpPr>
            <a:spLocks noGrp="1"/>
          </p:cNvSpPr>
          <p:nvPr>
            <p:ph type="body" sz="quarter" idx="10"/>
          </p:nvPr>
        </p:nvSpPr>
        <p:spPr>
          <a:xfrm>
            <a:off x="1981338" y="4569517"/>
            <a:ext cx="8396551" cy="1456710"/>
          </a:xfrm>
        </p:spPr>
        <p:txBody>
          <a:bodyPr vert="horz" lIns="0" tIns="0" rIns="0" bIns="0" rtlCol="0" anchor="t">
            <a:noAutofit/>
          </a:bodyPr>
          <a:lstStyle/>
          <a:p>
            <a:endParaRPr lang="en-GB"/>
          </a:p>
          <a:p>
            <a:r>
              <a:rPr lang="en-GB">
                <a:latin typeface="Nunito Sans Black"/>
              </a:rPr>
              <a:t>Transformation Leads Call</a:t>
            </a:r>
          </a:p>
          <a:p>
            <a:endParaRPr lang="en-GB" i="1">
              <a:latin typeface="Nunito Sans Black"/>
            </a:endParaRPr>
          </a:p>
        </p:txBody>
      </p:sp>
    </p:spTree>
    <p:extLst>
      <p:ext uri="{BB962C8B-B14F-4D97-AF65-F5344CB8AC3E}">
        <p14:creationId xmlns:p14="http://schemas.microsoft.com/office/powerpoint/2010/main" val="38058639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290116" y="676728"/>
            <a:ext cx="6143814"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Activity &amp; Nights Away Permits</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graphicFrame>
        <p:nvGraphicFramePr>
          <p:cNvPr id="2" name="Diagram 1">
            <a:extLst>
              <a:ext uri="{FF2B5EF4-FFF2-40B4-BE49-F238E27FC236}">
                <a16:creationId xmlns:a16="http://schemas.microsoft.com/office/drawing/2014/main" id="{7E8B1399-C6A6-DCF4-9880-58E21FA6B8CA}"/>
              </a:ext>
            </a:extLst>
          </p:cNvPr>
          <p:cNvGraphicFramePr/>
          <p:nvPr>
            <p:extLst>
              <p:ext uri="{D42A27DB-BD31-4B8C-83A1-F6EECF244321}">
                <p14:modId xmlns:p14="http://schemas.microsoft.com/office/powerpoint/2010/main" val="330885495"/>
              </p:ext>
            </p:extLst>
          </p:nvPr>
        </p:nvGraphicFramePr>
        <p:xfrm>
          <a:off x="409011" y="1138393"/>
          <a:ext cx="11373977"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Rectangle: Rounded Corners 12">
            <a:extLst>
              <a:ext uri="{FF2B5EF4-FFF2-40B4-BE49-F238E27FC236}">
                <a16:creationId xmlns:a16="http://schemas.microsoft.com/office/drawing/2014/main" id="{4110CF28-94E3-7BD5-FBD7-D0D47956A33C}"/>
              </a:ext>
            </a:extLst>
          </p:cNvPr>
          <p:cNvSpPr/>
          <p:nvPr/>
        </p:nvSpPr>
        <p:spPr>
          <a:xfrm>
            <a:off x="3940144" y="5107846"/>
            <a:ext cx="4311709" cy="1073426"/>
          </a:xfrm>
          <a:prstGeom prst="roundRect">
            <a:avLst/>
          </a:prstGeom>
          <a:solidFill>
            <a:schemeClr val="accent6">
              <a:lumMod val="60000"/>
              <a:lumOff val="4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525" marR="0" lvl="0" algn="ctr" defTabSz="685800" rtl="0" eaLnBrk="1" fontAlgn="auto" latinLnBrk="0" hangingPunct="1">
              <a:lnSpc>
                <a:spcPct val="100000"/>
              </a:lnSpc>
              <a:spcBef>
                <a:spcPts val="600"/>
              </a:spcBef>
              <a:spcAft>
                <a:spcPts val="600"/>
              </a:spcAft>
              <a:buClr>
                <a:srgbClr val="7414DC"/>
              </a:buClr>
              <a:buSzPct val="125000"/>
              <a:tabLst/>
              <a:defRPr/>
            </a:pPr>
            <a:r>
              <a:rPr lang="en-GB" sz="1800">
                <a:solidFill>
                  <a:srgbClr val="7414DC">
                    <a:hueOff val="0"/>
                    <a:satOff val="0"/>
                    <a:lumOff val="0"/>
                    <a:alphaOff val="0"/>
                  </a:srgbClr>
                </a:solidFill>
                <a:latin typeface="Nunito Sans"/>
              </a:rPr>
              <a:t>Progress of the permit application can be reviewed on the system at any time by Lead Volunteer or by applicant</a:t>
            </a:r>
          </a:p>
        </p:txBody>
      </p:sp>
    </p:spTree>
    <p:extLst>
      <p:ext uri="{BB962C8B-B14F-4D97-AF65-F5344CB8AC3E}">
        <p14:creationId xmlns:p14="http://schemas.microsoft.com/office/powerpoint/2010/main" val="61774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290116" y="676728"/>
            <a:ext cx="5437683"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Good Service</a:t>
            </a:r>
            <a:r>
              <a:rPr lang="en-GB" sz="3000" kern="0">
                <a:solidFill>
                  <a:srgbClr val="7413DC"/>
                </a:solidFill>
                <a:latin typeface="Nunito Sans Black"/>
                <a:cs typeface="Calibri"/>
              </a:rPr>
              <a:t> </a:t>
            </a:r>
            <a:r>
              <a:rPr kumimoji="0" lang="en-GB" sz="3000" b="0" i="0" u="none" strike="noStrike" kern="0" cap="none" spc="0" normalizeH="0" baseline="0" noProof="0">
                <a:ln>
                  <a:noFill/>
                </a:ln>
                <a:solidFill>
                  <a:srgbClr val="7413DC"/>
                </a:solidFill>
                <a:effectLst/>
                <a:uLnTx/>
                <a:uFillTx/>
                <a:latin typeface="Nunito Sans Black"/>
                <a:ea typeface="+mn-ea"/>
                <a:cs typeface="Calibri"/>
              </a:rPr>
              <a:t>Awards</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graphicFrame>
        <p:nvGraphicFramePr>
          <p:cNvPr id="2" name="Diagram 1">
            <a:extLst>
              <a:ext uri="{FF2B5EF4-FFF2-40B4-BE49-F238E27FC236}">
                <a16:creationId xmlns:a16="http://schemas.microsoft.com/office/drawing/2014/main" id="{7E8B1399-C6A6-DCF4-9880-58E21FA6B8CA}"/>
              </a:ext>
            </a:extLst>
          </p:cNvPr>
          <p:cNvGraphicFramePr/>
          <p:nvPr>
            <p:extLst>
              <p:ext uri="{D42A27DB-BD31-4B8C-83A1-F6EECF244321}">
                <p14:modId xmlns:p14="http://schemas.microsoft.com/office/powerpoint/2010/main" val="86307126"/>
              </p:ext>
            </p:extLst>
          </p:nvPr>
        </p:nvGraphicFramePr>
        <p:xfrm>
          <a:off x="527908" y="1138393"/>
          <a:ext cx="11136183"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16343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290116" y="676728"/>
            <a:ext cx="5437683"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Good Service</a:t>
            </a:r>
            <a:r>
              <a:rPr lang="en-GB" sz="3000" kern="0">
                <a:solidFill>
                  <a:srgbClr val="7413DC"/>
                </a:solidFill>
                <a:latin typeface="Nunito Sans Black"/>
                <a:cs typeface="Calibri"/>
              </a:rPr>
              <a:t> </a:t>
            </a:r>
            <a:r>
              <a:rPr kumimoji="0" lang="en-GB" sz="3000" b="0" i="0" u="none" strike="noStrike" kern="0" cap="none" spc="0" normalizeH="0" baseline="0" noProof="0">
                <a:ln>
                  <a:noFill/>
                </a:ln>
                <a:solidFill>
                  <a:srgbClr val="7413DC"/>
                </a:solidFill>
                <a:effectLst/>
                <a:uLnTx/>
                <a:uFillTx/>
                <a:latin typeface="Nunito Sans Black"/>
                <a:ea typeface="+mn-ea"/>
                <a:cs typeface="Calibri"/>
              </a:rPr>
              <a:t>Awards</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graphicFrame>
        <p:nvGraphicFramePr>
          <p:cNvPr id="2" name="Diagram 1">
            <a:extLst>
              <a:ext uri="{FF2B5EF4-FFF2-40B4-BE49-F238E27FC236}">
                <a16:creationId xmlns:a16="http://schemas.microsoft.com/office/drawing/2014/main" id="{7E8B1399-C6A6-DCF4-9880-58E21FA6B8CA}"/>
              </a:ext>
            </a:extLst>
          </p:cNvPr>
          <p:cNvGraphicFramePr/>
          <p:nvPr>
            <p:extLst>
              <p:ext uri="{D42A27DB-BD31-4B8C-83A1-F6EECF244321}">
                <p14:modId xmlns:p14="http://schemas.microsoft.com/office/powerpoint/2010/main" val="3950355089"/>
              </p:ext>
            </p:extLst>
          </p:nvPr>
        </p:nvGraphicFramePr>
        <p:xfrm>
          <a:off x="527908" y="1138393"/>
          <a:ext cx="11136183"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631516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290116" y="676728"/>
            <a:ext cx="5437683"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Nights Away authorisations</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graphicFrame>
        <p:nvGraphicFramePr>
          <p:cNvPr id="2" name="Diagram 1">
            <a:extLst>
              <a:ext uri="{FF2B5EF4-FFF2-40B4-BE49-F238E27FC236}">
                <a16:creationId xmlns:a16="http://schemas.microsoft.com/office/drawing/2014/main" id="{7E8B1399-C6A6-DCF4-9880-58E21FA6B8CA}"/>
              </a:ext>
            </a:extLst>
          </p:cNvPr>
          <p:cNvGraphicFramePr/>
          <p:nvPr>
            <p:extLst>
              <p:ext uri="{D42A27DB-BD31-4B8C-83A1-F6EECF244321}">
                <p14:modId xmlns:p14="http://schemas.microsoft.com/office/powerpoint/2010/main" val="2106364555"/>
              </p:ext>
            </p:extLst>
          </p:nvPr>
        </p:nvGraphicFramePr>
        <p:xfrm>
          <a:off x="527908" y="1138393"/>
          <a:ext cx="11303874"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Rounded Corners 5">
            <a:extLst>
              <a:ext uri="{FF2B5EF4-FFF2-40B4-BE49-F238E27FC236}">
                <a16:creationId xmlns:a16="http://schemas.microsoft.com/office/drawing/2014/main" id="{F6AF1457-A892-BF5B-BCBA-24D10108E0A3}"/>
              </a:ext>
            </a:extLst>
          </p:cNvPr>
          <p:cNvSpPr/>
          <p:nvPr/>
        </p:nvSpPr>
        <p:spPr>
          <a:xfrm>
            <a:off x="3758367" y="5182894"/>
            <a:ext cx="4675266" cy="1073426"/>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525" marR="0" lvl="0" algn="ctr" defTabSz="685800" rtl="0" eaLnBrk="1" fontAlgn="auto" latinLnBrk="0" hangingPunct="1">
              <a:lnSpc>
                <a:spcPct val="100000"/>
              </a:lnSpc>
              <a:spcBef>
                <a:spcPts val="600"/>
              </a:spcBef>
              <a:spcAft>
                <a:spcPts val="600"/>
              </a:spcAft>
              <a:buClr>
                <a:srgbClr val="7414DC"/>
              </a:buClr>
              <a:buSzPct val="125000"/>
              <a:tabLst/>
              <a:defRPr/>
            </a:pPr>
            <a:r>
              <a:rPr lang="en-GB" sz="1800">
                <a:solidFill>
                  <a:srgbClr val="7414DC">
                    <a:hueOff val="0"/>
                    <a:satOff val="0"/>
                    <a:lumOff val="0"/>
                    <a:alphaOff val="0"/>
                  </a:srgbClr>
                </a:solidFill>
                <a:latin typeface="Nunito Sans"/>
              </a:rPr>
              <a:t>After approval, if there are changes made to the NAN it will reset and go round the approval route again</a:t>
            </a:r>
          </a:p>
        </p:txBody>
      </p:sp>
    </p:spTree>
    <p:extLst>
      <p:ext uri="{BB962C8B-B14F-4D97-AF65-F5344CB8AC3E}">
        <p14:creationId xmlns:p14="http://schemas.microsoft.com/office/powerpoint/2010/main" val="12746883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290116" y="676728"/>
            <a:ext cx="5437683"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Nights Away authorisations</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graphicFrame>
        <p:nvGraphicFramePr>
          <p:cNvPr id="2" name="Diagram 1">
            <a:extLst>
              <a:ext uri="{FF2B5EF4-FFF2-40B4-BE49-F238E27FC236}">
                <a16:creationId xmlns:a16="http://schemas.microsoft.com/office/drawing/2014/main" id="{7E8B1399-C6A6-DCF4-9880-58E21FA6B8CA}"/>
              </a:ext>
            </a:extLst>
          </p:cNvPr>
          <p:cNvGraphicFramePr/>
          <p:nvPr>
            <p:extLst>
              <p:ext uri="{D42A27DB-BD31-4B8C-83A1-F6EECF244321}">
                <p14:modId xmlns:p14="http://schemas.microsoft.com/office/powerpoint/2010/main" val="2142795949"/>
              </p:ext>
            </p:extLst>
          </p:nvPr>
        </p:nvGraphicFramePr>
        <p:xfrm>
          <a:off x="527908" y="1138393"/>
          <a:ext cx="11303874"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Rounded Corners 5">
            <a:extLst>
              <a:ext uri="{FF2B5EF4-FFF2-40B4-BE49-F238E27FC236}">
                <a16:creationId xmlns:a16="http://schemas.microsoft.com/office/drawing/2014/main" id="{F6AF1457-A892-BF5B-BCBA-24D10108E0A3}"/>
              </a:ext>
            </a:extLst>
          </p:cNvPr>
          <p:cNvSpPr/>
          <p:nvPr/>
        </p:nvSpPr>
        <p:spPr>
          <a:xfrm>
            <a:off x="3758367" y="5182894"/>
            <a:ext cx="4675266" cy="1073426"/>
          </a:xfrm>
          <a:prstGeom prst="roundRect">
            <a:avLst/>
          </a:prstGeom>
          <a:solidFill>
            <a:schemeClr val="accent6">
              <a:lumMod val="60000"/>
              <a:lumOff val="4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525" marR="0" lvl="0" algn="ctr" defTabSz="685800" rtl="0" eaLnBrk="1" fontAlgn="auto" latinLnBrk="0" hangingPunct="1">
              <a:lnSpc>
                <a:spcPct val="100000"/>
              </a:lnSpc>
              <a:spcBef>
                <a:spcPts val="600"/>
              </a:spcBef>
              <a:spcAft>
                <a:spcPts val="600"/>
              </a:spcAft>
              <a:buClr>
                <a:srgbClr val="7414DC"/>
              </a:buClr>
              <a:buSzPct val="125000"/>
              <a:tabLst/>
              <a:defRPr/>
            </a:pPr>
            <a:r>
              <a:rPr lang="en-GB" sz="1800">
                <a:solidFill>
                  <a:srgbClr val="7414DC">
                    <a:hueOff val="0"/>
                    <a:satOff val="0"/>
                    <a:lumOff val="0"/>
                    <a:alphaOff val="0"/>
                  </a:srgbClr>
                </a:solidFill>
                <a:latin typeface="Nunito Sans"/>
              </a:rPr>
              <a:t>After approval, if there are changes made to the NAN it will reset and go round the approval route again</a:t>
            </a:r>
          </a:p>
        </p:txBody>
      </p:sp>
    </p:spTree>
    <p:extLst>
      <p:ext uri="{BB962C8B-B14F-4D97-AF65-F5344CB8AC3E}">
        <p14:creationId xmlns:p14="http://schemas.microsoft.com/office/powerpoint/2010/main" val="35397370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52EBD7CB-CAB0-238B-96A4-71E2BBF45749}"/>
              </a:ext>
            </a:extLst>
          </p:cNvPr>
          <p:cNvSpPr txBox="1"/>
          <p:nvPr/>
        </p:nvSpPr>
        <p:spPr>
          <a:xfrm>
            <a:off x="6359166" y="1013536"/>
            <a:ext cx="5656032"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Things to consider</a:t>
            </a:r>
            <a:endParaRPr kumimoji="0" lang="en-US" sz="1800" b="0" i="0" u="none" strike="noStrike" kern="1200" cap="none" spc="0" normalizeH="0" baseline="0" noProof="0">
              <a:ln>
                <a:noFill/>
              </a:ln>
              <a:solidFill>
                <a:srgbClr val="000000"/>
              </a:solidFill>
              <a:effectLst/>
              <a:uLnTx/>
              <a:uFillTx/>
              <a:latin typeface="Nunito Sans"/>
              <a:ea typeface="+mn-ea"/>
              <a:cs typeface="+mn-cs"/>
            </a:endParaRPr>
          </a:p>
        </p:txBody>
      </p:sp>
      <p:sp>
        <p:nvSpPr>
          <p:cNvPr id="3" name="TextBox 2">
            <a:extLst>
              <a:ext uri="{FF2B5EF4-FFF2-40B4-BE49-F238E27FC236}">
                <a16:creationId xmlns:a16="http://schemas.microsoft.com/office/drawing/2014/main" id="{2A3D6380-AD62-9533-2C66-E0666E223068}"/>
              </a:ext>
            </a:extLst>
          </p:cNvPr>
          <p:cNvSpPr txBox="1"/>
          <p:nvPr/>
        </p:nvSpPr>
        <p:spPr>
          <a:xfrm>
            <a:off x="6359166" y="1671889"/>
            <a:ext cx="5491568" cy="4562788"/>
          </a:xfrm>
          <a:prstGeom prst="rect">
            <a:avLst/>
          </a:prstGeom>
          <a:noFill/>
        </p:spPr>
        <p:txBody>
          <a:bodyPr wrap="square" lIns="68580" tIns="34290" rIns="68580" bIns="34290" rtlCol="0" anchor="t">
            <a:spAutoFit/>
          </a:bodyPr>
          <a:lstStyle/>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lang="en-GB" sz="2200">
                <a:solidFill>
                  <a:srgbClr val="000000"/>
                </a:solidFill>
                <a:latin typeface="Nunito Sans"/>
                <a:ea typeface="Calibri"/>
              </a:rPr>
              <a:t>Discuss in your County how best to move to the new processes</a:t>
            </a: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lang="en-GB" sz="2200">
                <a:solidFill>
                  <a:srgbClr val="000000"/>
                </a:solidFill>
                <a:latin typeface="Nunito Sans"/>
                <a:ea typeface="Calibri"/>
              </a:rPr>
              <a:t>Ensure those involved in your local processes:</a:t>
            </a:r>
          </a:p>
          <a:p>
            <a:pPr marL="695325" lvl="1" indent="-342900">
              <a:spcBef>
                <a:spcPts val="600"/>
              </a:spcBef>
              <a:spcAft>
                <a:spcPts val="600"/>
              </a:spcAft>
              <a:buClr>
                <a:srgbClr val="7414DC"/>
              </a:buClr>
              <a:buSzPct val="125000"/>
              <a:buFont typeface="Arial" panose="020B0604020202020204" pitchFamily="34" charset="0"/>
              <a:buChar char="•"/>
              <a:defRPr/>
            </a:pPr>
            <a:r>
              <a:rPr lang="en-GB" sz="2200">
                <a:solidFill>
                  <a:srgbClr val="000000"/>
                </a:solidFill>
                <a:latin typeface="Nunito Sans"/>
                <a:ea typeface="Calibri"/>
              </a:rPr>
              <a:t>Know what is changing</a:t>
            </a:r>
          </a:p>
          <a:p>
            <a:pPr marL="695325" lvl="1" indent="-342900">
              <a:spcBef>
                <a:spcPts val="600"/>
              </a:spcBef>
              <a:spcAft>
                <a:spcPts val="600"/>
              </a:spcAft>
              <a:buClr>
                <a:srgbClr val="7414DC"/>
              </a:buClr>
              <a:buSzPct val="125000"/>
              <a:buFont typeface="Arial" panose="020B0604020202020204" pitchFamily="34" charset="0"/>
              <a:buChar char="•"/>
              <a:defRPr/>
            </a:pPr>
            <a:r>
              <a:rPr lang="en-GB" sz="2200">
                <a:solidFill>
                  <a:srgbClr val="000000"/>
                </a:solidFill>
                <a:latin typeface="Nunito Sans"/>
                <a:ea typeface="Calibri"/>
              </a:rPr>
              <a:t>Know what they will need to do differently in future</a:t>
            </a:r>
          </a:p>
          <a:p>
            <a:pPr marL="695325" lvl="1" indent="-342900">
              <a:spcBef>
                <a:spcPts val="600"/>
              </a:spcBef>
              <a:spcAft>
                <a:spcPts val="600"/>
              </a:spcAft>
              <a:buClr>
                <a:srgbClr val="7414DC"/>
              </a:buClr>
              <a:buSzPct val="125000"/>
              <a:buFont typeface="Arial" panose="020B0604020202020204" pitchFamily="34" charset="0"/>
              <a:buChar char="•"/>
              <a:defRPr/>
            </a:pPr>
            <a:r>
              <a:rPr lang="en-GB" sz="2200">
                <a:solidFill>
                  <a:srgbClr val="000000"/>
                </a:solidFill>
                <a:latin typeface="Nunito Sans"/>
                <a:ea typeface="Calibri"/>
              </a:rPr>
              <a:t>Are given the appropriate accreditations </a:t>
            </a:r>
          </a:p>
          <a:p>
            <a:pPr marL="352425" indent="-342900">
              <a:spcBef>
                <a:spcPts val="600"/>
              </a:spcBef>
              <a:spcAft>
                <a:spcPts val="600"/>
              </a:spcAft>
              <a:buClr>
                <a:srgbClr val="7414DC"/>
              </a:buClr>
              <a:buSzPct val="125000"/>
              <a:buFont typeface="Arial" panose="020B0604020202020204" pitchFamily="34" charset="0"/>
              <a:buChar char="•"/>
              <a:defRPr/>
            </a:pPr>
            <a:r>
              <a:rPr lang="en-GB" sz="2200">
                <a:solidFill>
                  <a:srgbClr val="000000"/>
                </a:solidFill>
                <a:latin typeface="Nunito Sans"/>
                <a:ea typeface="Calibri"/>
              </a:rPr>
              <a:t>All volunteers will need to know about which processes are changing and how</a:t>
            </a:r>
          </a:p>
        </p:txBody>
      </p:sp>
      <p:pic>
        <p:nvPicPr>
          <p:cNvPr id="4" name="Picture 3">
            <a:extLst>
              <a:ext uri="{FF2B5EF4-FFF2-40B4-BE49-F238E27FC236}">
                <a16:creationId xmlns:a16="http://schemas.microsoft.com/office/drawing/2014/main" id="{4025331C-4585-4817-C8B8-D1F50639AA2E}"/>
              </a:ext>
            </a:extLst>
          </p:cNvPr>
          <p:cNvPicPr>
            <a:picLocks noChangeAspect="1"/>
          </p:cNvPicPr>
          <p:nvPr/>
        </p:nvPicPr>
        <p:blipFill rotWithShape="1">
          <a:blip r:embed="rId3"/>
          <a:srcRect l="25122" t="1" r="19954" b="677"/>
          <a:stretch/>
        </p:blipFill>
        <p:spPr>
          <a:xfrm>
            <a:off x="0" y="0"/>
            <a:ext cx="6115792" cy="6858000"/>
          </a:xfrm>
          <a:prstGeom prst="rect">
            <a:avLst/>
          </a:prstGeom>
        </p:spPr>
      </p:pic>
    </p:spTree>
    <p:extLst>
      <p:ext uri="{BB962C8B-B14F-4D97-AF65-F5344CB8AC3E}">
        <p14:creationId xmlns:p14="http://schemas.microsoft.com/office/powerpoint/2010/main" val="6267615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4FD1763-E64D-4529-0D89-4F515C46659E}"/>
              </a:ext>
            </a:extLst>
          </p:cNvPr>
          <p:cNvSpPr txBox="1"/>
          <p:nvPr/>
        </p:nvSpPr>
        <p:spPr>
          <a:xfrm>
            <a:off x="288422" y="1146518"/>
            <a:ext cx="5423266" cy="954107"/>
          </a:xfrm>
          <a:prstGeom prst="rect">
            <a:avLst/>
          </a:prstGeom>
          <a:noFill/>
        </p:spPr>
        <p:txBody>
          <a:bodyPr wrap="square" lIns="91440" tIns="45720" rIns="91440" bIns="45720" anchor="t">
            <a:spAutoFit/>
          </a:bodyPr>
          <a:lstStyle/>
          <a:p>
            <a:pPr marL="64770" marR="0" lvl="0" indent="0" algn="l" defTabSz="685800" rtl="0" eaLnBrk="1" fontAlgn="auto" latinLnBrk="0" hangingPunct="1">
              <a:lnSpc>
                <a:spcPct val="100000"/>
              </a:lnSpc>
              <a:spcBef>
                <a:spcPts val="2145"/>
              </a:spcBef>
              <a:spcAft>
                <a:spcPts val="0"/>
              </a:spcAft>
              <a:buClrTx/>
              <a:buSzTx/>
              <a:buFontTx/>
              <a:buNone/>
              <a:tabLst/>
              <a:defRPr/>
            </a:pPr>
            <a:r>
              <a:rPr kumimoji="0" lang="en-GB" sz="2800" b="1" i="0" u="none" strike="noStrike" kern="1200" cap="none" spc="0" normalizeH="0" baseline="0" noProof="0">
                <a:ln>
                  <a:noFill/>
                </a:ln>
                <a:solidFill>
                  <a:srgbClr val="7413DC"/>
                </a:solidFill>
                <a:effectLst/>
                <a:uLnTx/>
                <a:uFillTx/>
                <a:latin typeface="Nunito Sans Black"/>
                <a:ea typeface="+mn-ea"/>
                <a:cs typeface="Nunito Sans Black"/>
              </a:rPr>
              <a:t>Understanding the new system</a:t>
            </a:r>
          </a:p>
        </p:txBody>
      </p:sp>
      <p:sp>
        <p:nvSpPr>
          <p:cNvPr id="15" name="TextBox 14">
            <a:extLst>
              <a:ext uri="{FF2B5EF4-FFF2-40B4-BE49-F238E27FC236}">
                <a16:creationId xmlns:a16="http://schemas.microsoft.com/office/drawing/2014/main" id="{3FE31CB4-5423-A997-8C1B-AFA706E3D856}"/>
              </a:ext>
            </a:extLst>
          </p:cNvPr>
          <p:cNvSpPr txBox="1"/>
          <p:nvPr/>
        </p:nvSpPr>
        <p:spPr>
          <a:xfrm>
            <a:off x="419429" y="2571537"/>
            <a:ext cx="5292259" cy="3170099"/>
          </a:xfrm>
          <a:prstGeom prst="rect">
            <a:avLst/>
          </a:prstGeom>
          <a:noFill/>
        </p:spPr>
        <p:txBody>
          <a:bodyPr wrap="square" lIns="91440" tIns="45720" rIns="91440" bIns="45720" rtlCol="0" anchor="t">
            <a:spAutoFit/>
          </a:bodyPr>
          <a:lstStyle/>
          <a:p>
            <a:pPr marL="285750" indent="-285750" defTabSz="685800">
              <a:spcBef>
                <a:spcPts val="1200"/>
              </a:spcBef>
              <a:spcAft>
                <a:spcPts val="1200"/>
              </a:spcAft>
              <a:buClr>
                <a:srgbClr val="7414DC"/>
              </a:buClr>
              <a:buSzPct val="125000"/>
              <a:buFont typeface="Arial" panose="020B0604020202020204" pitchFamily="34" charset="0"/>
              <a:buChar char="•"/>
              <a:defRPr/>
            </a:pPr>
            <a:r>
              <a:rPr lang="en-GB" sz="2000">
                <a:solidFill>
                  <a:srgbClr val="000000"/>
                </a:solidFill>
                <a:latin typeface="Nunito Sans"/>
              </a:rPr>
              <a:t>The system is designed to be intuitive and easily navigable</a:t>
            </a:r>
          </a:p>
          <a:p>
            <a:pPr marL="285750" indent="-285750" defTabSz="685800">
              <a:spcBef>
                <a:spcPts val="1200"/>
              </a:spcBef>
              <a:spcAft>
                <a:spcPts val="1200"/>
              </a:spcAft>
              <a:buClr>
                <a:srgbClr val="7414DC"/>
              </a:buClr>
              <a:buSzPct val="125000"/>
              <a:buFont typeface="Arial" panose="020B0604020202020204" pitchFamily="34" charset="0"/>
              <a:buChar char="•"/>
              <a:defRPr/>
            </a:pPr>
            <a:r>
              <a:rPr lang="en-GB" sz="2000">
                <a:solidFill>
                  <a:srgbClr val="000000"/>
                </a:solidFill>
                <a:latin typeface="Nunito Sans"/>
              </a:rPr>
              <a:t>Guides and videos are being produced for the new systems and processes</a:t>
            </a:r>
          </a:p>
          <a:p>
            <a:pPr marL="285750" indent="-285750" defTabSz="685800">
              <a:spcBef>
                <a:spcPts val="1200"/>
              </a:spcBef>
              <a:spcAft>
                <a:spcPts val="1200"/>
              </a:spcAft>
              <a:buClr>
                <a:srgbClr val="7414DC"/>
              </a:buClr>
              <a:buSzPct val="125000"/>
              <a:buFont typeface="Arial" panose="020B0604020202020204" pitchFamily="34" charset="0"/>
              <a:buChar char="•"/>
              <a:defRPr/>
            </a:pPr>
            <a:r>
              <a:rPr lang="en-GB" sz="2000">
                <a:solidFill>
                  <a:srgbClr val="000000"/>
                </a:solidFill>
                <a:latin typeface="Nunito Sans"/>
              </a:rPr>
              <a:t>These will be further improved using feedback from the EA go live</a:t>
            </a:r>
          </a:p>
          <a:p>
            <a:pPr marL="285750" indent="-285750" defTabSz="685800">
              <a:spcBef>
                <a:spcPts val="1200"/>
              </a:spcBef>
              <a:spcAft>
                <a:spcPts val="1200"/>
              </a:spcAft>
              <a:buClr>
                <a:srgbClr val="7414DC"/>
              </a:buClr>
              <a:buSzPct val="125000"/>
              <a:buFont typeface="Arial" panose="020B0604020202020204" pitchFamily="34" charset="0"/>
              <a:buChar char="•"/>
              <a:defRPr/>
            </a:pPr>
            <a:r>
              <a:rPr lang="en-GB" sz="2000">
                <a:solidFill>
                  <a:srgbClr val="000000"/>
                </a:solidFill>
                <a:latin typeface="Nunito Sans"/>
              </a:rPr>
              <a:t>We’ll share more on this in January</a:t>
            </a:r>
          </a:p>
        </p:txBody>
      </p:sp>
      <p:pic>
        <p:nvPicPr>
          <p:cNvPr id="2" name="Picture 1" descr="A picture containing person, outdoor, grass, cellphone&#10;&#10;Description automatically generated">
            <a:extLst>
              <a:ext uri="{FF2B5EF4-FFF2-40B4-BE49-F238E27FC236}">
                <a16:creationId xmlns:a16="http://schemas.microsoft.com/office/drawing/2014/main" id="{0BB295B8-E92A-A93A-50F4-435D4FBF3AF1}"/>
              </a:ext>
            </a:extLst>
          </p:cNvPr>
          <p:cNvPicPr>
            <a:picLocks noChangeAspect="1"/>
          </p:cNvPicPr>
          <p:nvPr/>
        </p:nvPicPr>
        <p:blipFill>
          <a:blip r:embed="rId2"/>
          <a:stretch>
            <a:fillRect/>
          </a:stretch>
        </p:blipFill>
        <p:spPr>
          <a:xfrm flipH="1">
            <a:off x="6103435" y="0"/>
            <a:ext cx="6088565" cy="6858929"/>
          </a:xfrm>
          <a:prstGeom prst="rect">
            <a:avLst/>
          </a:prstGeom>
        </p:spPr>
      </p:pic>
    </p:spTree>
    <p:extLst>
      <p:ext uri="{BB962C8B-B14F-4D97-AF65-F5344CB8AC3E}">
        <p14:creationId xmlns:p14="http://schemas.microsoft.com/office/powerpoint/2010/main" val="28111525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11162966"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Migration Timeline</a:t>
            </a:r>
            <a:endParaRPr lang="en-US">
              <a:latin typeface="Nunito Sans"/>
            </a:endParaRPr>
          </a:p>
        </p:txBody>
      </p:sp>
    </p:spTree>
    <p:extLst>
      <p:ext uri="{BB962C8B-B14F-4D97-AF65-F5344CB8AC3E}">
        <p14:creationId xmlns:p14="http://schemas.microsoft.com/office/powerpoint/2010/main" val="10878264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52EBD7CB-CAB0-238B-96A4-71E2BBF45749}"/>
              </a:ext>
            </a:extLst>
          </p:cNvPr>
          <p:cNvSpPr txBox="1"/>
          <p:nvPr/>
        </p:nvSpPr>
        <p:spPr>
          <a:xfrm>
            <a:off x="400384" y="680348"/>
            <a:ext cx="5231790" cy="461665"/>
          </a:xfrm>
          <a:prstGeom prst="rect">
            <a:avLst/>
          </a:prstGeom>
        </p:spPr>
        <p:txBody>
          <a:bodyPr vert="horz" wrap="square" lIns="0" tIns="0" rIns="0" bIns="0" rtlCol="0" anchor="t">
            <a:spAutoFit/>
          </a:bodyPr>
          <a:lstStyle/>
          <a:p>
            <a:pPr marL="0" lvl="1" defTabSz="685784"/>
            <a:r>
              <a:rPr lang="en-GB" sz="3000" kern="0">
                <a:solidFill>
                  <a:srgbClr val="7413DC"/>
                </a:solidFill>
                <a:latin typeface="Nunito Sans Black"/>
                <a:cs typeface="Calibri"/>
              </a:rPr>
              <a:t>Current Status</a:t>
            </a:r>
            <a:endParaRPr lang="en-US"/>
          </a:p>
        </p:txBody>
      </p:sp>
      <p:sp>
        <p:nvSpPr>
          <p:cNvPr id="4" name="TextBox 3">
            <a:extLst>
              <a:ext uri="{FF2B5EF4-FFF2-40B4-BE49-F238E27FC236}">
                <a16:creationId xmlns:a16="http://schemas.microsoft.com/office/drawing/2014/main" id="{DF20E3B6-5A42-BD0C-97FF-9F4101A8AFCC}"/>
              </a:ext>
            </a:extLst>
          </p:cNvPr>
          <p:cNvSpPr txBox="1"/>
          <p:nvPr/>
        </p:nvSpPr>
        <p:spPr>
          <a:xfrm>
            <a:off x="400384" y="1970741"/>
            <a:ext cx="5618117" cy="3785652"/>
          </a:xfrm>
          <a:prstGeom prst="rect">
            <a:avLst/>
          </a:prstGeom>
          <a:noFill/>
        </p:spPr>
        <p:txBody>
          <a:bodyPr wrap="square" lIns="91440" tIns="45720" rIns="91440" bIns="45720" anchor="t">
            <a:spAutoFit/>
          </a:bodyPr>
          <a:lstStyle/>
          <a:p>
            <a:pPr marL="352425" indent="-342900">
              <a:spcBef>
                <a:spcPts val="1200"/>
              </a:spcBef>
              <a:spcAft>
                <a:spcPts val="1200"/>
              </a:spcAft>
              <a:buClr>
                <a:srgbClr val="7414DC"/>
              </a:buClr>
              <a:buSzPct val="125000"/>
              <a:buFont typeface="Arial" panose="020B0604020202020204" pitchFamily="34" charset="0"/>
              <a:buChar char="•"/>
              <a:defRPr/>
            </a:pPr>
            <a:r>
              <a:rPr lang="en-GB" sz="2000">
                <a:latin typeface="Nunito Sans"/>
                <a:ea typeface="Calibri"/>
                <a:cs typeface="Calibri"/>
              </a:rPr>
              <a:t>System build complete</a:t>
            </a:r>
          </a:p>
          <a:p>
            <a:pPr marL="352425" indent="-342900">
              <a:spcBef>
                <a:spcPts val="1200"/>
              </a:spcBef>
              <a:spcAft>
                <a:spcPts val="1200"/>
              </a:spcAft>
              <a:buClr>
                <a:srgbClr val="7414DC"/>
              </a:buClr>
              <a:buSzPct val="125000"/>
              <a:buFont typeface="Arial" panose="020B0604020202020204" pitchFamily="34" charset="0"/>
              <a:buChar char="•"/>
              <a:defRPr/>
            </a:pPr>
            <a:r>
              <a:rPr lang="en-GB" sz="2000">
                <a:latin typeface="Nunito Sans"/>
                <a:ea typeface="Calibri"/>
                <a:cs typeface="Calibri"/>
              </a:rPr>
              <a:t>Internal testing currently in progress</a:t>
            </a:r>
          </a:p>
          <a:p>
            <a:pPr marL="352425" indent="-342900">
              <a:spcBef>
                <a:spcPts val="1200"/>
              </a:spcBef>
              <a:spcAft>
                <a:spcPts val="1200"/>
              </a:spcAft>
              <a:buClr>
                <a:srgbClr val="7414DC"/>
              </a:buClr>
              <a:buSzPct val="125000"/>
              <a:buFont typeface="Arial" panose="020B0604020202020204" pitchFamily="34" charset="0"/>
              <a:buChar char="•"/>
              <a:defRPr/>
            </a:pPr>
            <a:r>
              <a:rPr lang="en-GB" sz="2000">
                <a:latin typeface="Nunito Sans"/>
                <a:ea typeface="Calibri"/>
                <a:cs typeface="Calibri"/>
              </a:rPr>
              <a:t>Preparing for end-to-end testing with volunteers later this year</a:t>
            </a:r>
          </a:p>
          <a:p>
            <a:pPr marL="352425" indent="-342900">
              <a:spcBef>
                <a:spcPts val="1200"/>
              </a:spcBef>
              <a:spcAft>
                <a:spcPts val="1200"/>
              </a:spcAft>
              <a:buClr>
                <a:srgbClr val="7414DC"/>
              </a:buClr>
              <a:buSzPct val="125000"/>
              <a:buFont typeface="Arial" panose="020B0604020202020204" pitchFamily="34" charset="0"/>
              <a:buChar char="•"/>
              <a:defRPr/>
            </a:pPr>
            <a:r>
              <a:rPr lang="en-GB" sz="2000">
                <a:latin typeface="Nunito Sans"/>
                <a:ea typeface="Calibri"/>
                <a:cs typeface="Calibri"/>
              </a:rPr>
              <a:t>Beta testing learning content with volunteers</a:t>
            </a:r>
          </a:p>
          <a:p>
            <a:pPr marL="352425" indent="-342900">
              <a:spcBef>
                <a:spcPts val="1200"/>
              </a:spcBef>
              <a:spcAft>
                <a:spcPts val="1200"/>
              </a:spcAft>
              <a:buClr>
                <a:srgbClr val="7414DC"/>
              </a:buClr>
              <a:buSzPct val="125000"/>
              <a:buFont typeface="Arial" panose="020B0604020202020204" pitchFamily="34" charset="0"/>
              <a:buChar char="•"/>
              <a:defRPr/>
            </a:pPr>
            <a:r>
              <a:rPr lang="en-GB" sz="2000">
                <a:latin typeface="Nunito Sans"/>
                <a:ea typeface="Calibri"/>
                <a:cs typeface="Calibri"/>
              </a:rPr>
              <a:t>Agreeing exact dates of, and interim processes during the migration</a:t>
            </a:r>
          </a:p>
        </p:txBody>
      </p:sp>
      <p:pic>
        <p:nvPicPr>
          <p:cNvPr id="2" name="Picture 15" descr="A picture containing text, person, person, indoor&#10;&#10;Description automatically generated">
            <a:extLst>
              <a:ext uri="{FF2B5EF4-FFF2-40B4-BE49-F238E27FC236}">
                <a16:creationId xmlns:a16="http://schemas.microsoft.com/office/drawing/2014/main" id="{8858E105-651B-9BAC-4CE2-349EB190F20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4690268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5">
            <a:extLst>
              <a:ext uri="{FF2B5EF4-FFF2-40B4-BE49-F238E27FC236}">
                <a16:creationId xmlns:a16="http://schemas.microsoft.com/office/drawing/2014/main" id="{776549CA-103D-CC93-8E18-660470A9F589}"/>
              </a:ext>
            </a:extLst>
          </p:cNvPr>
          <p:cNvSpPr txBox="1"/>
          <p:nvPr/>
        </p:nvSpPr>
        <p:spPr>
          <a:xfrm>
            <a:off x="6351104" y="984714"/>
            <a:ext cx="5633684" cy="430887"/>
          </a:xfrm>
          <a:prstGeom prst="rect">
            <a:avLst/>
          </a:prstGeom>
        </p:spPr>
        <p:txBody>
          <a:bodyPr vert="horz" wrap="square" lIns="0" tIns="0" rIns="0" bIns="0" rtlCol="0" anchor="t">
            <a:spAutoFit/>
          </a:bodyPr>
          <a:lstStyle/>
          <a:p>
            <a:pPr marL="0" lvl="1" defTabSz="685784"/>
            <a:r>
              <a:rPr lang="en-GB" sz="2800" kern="0">
                <a:solidFill>
                  <a:srgbClr val="7413DC"/>
                </a:solidFill>
                <a:latin typeface="Nunito Sans Black"/>
                <a:cs typeface="Calibri"/>
              </a:rPr>
              <a:t>Go-Live Timeline</a:t>
            </a:r>
            <a:endParaRPr lang="en-US"/>
          </a:p>
        </p:txBody>
      </p:sp>
      <p:pic>
        <p:nvPicPr>
          <p:cNvPr id="3" name="Picture 2" descr="A person with his arms crossed&#10;&#10;Description automatically generated with medium confidence">
            <a:extLst>
              <a:ext uri="{FF2B5EF4-FFF2-40B4-BE49-F238E27FC236}">
                <a16:creationId xmlns:a16="http://schemas.microsoft.com/office/drawing/2014/main" id="{A627CC5F-3A26-0541-B0DE-417E06D843A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8973" t="7373" r="6135"/>
          <a:stretch/>
        </p:blipFill>
        <p:spPr>
          <a:xfrm>
            <a:off x="0" y="0"/>
            <a:ext cx="6096000" cy="6858000"/>
          </a:xfrm>
          <a:prstGeom prst="rect">
            <a:avLst/>
          </a:prstGeom>
        </p:spPr>
      </p:pic>
      <p:sp>
        <p:nvSpPr>
          <p:cNvPr id="5" name="TextBox 4">
            <a:extLst>
              <a:ext uri="{FF2B5EF4-FFF2-40B4-BE49-F238E27FC236}">
                <a16:creationId xmlns:a16="http://schemas.microsoft.com/office/drawing/2014/main" id="{E2827EB6-736F-73F0-FABA-E70E55A602D5}"/>
              </a:ext>
            </a:extLst>
          </p:cNvPr>
          <p:cNvSpPr txBox="1"/>
          <p:nvPr/>
        </p:nvSpPr>
        <p:spPr>
          <a:xfrm>
            <a:off x="6281786" y="1878021"/>
            <a:ext cx="5772320" cy="4401205"/>
          </a:xfrm>
          <a:prstGeom prst="rect">
            <a:avLst/>
          </a:prstGeom>
          <a:noFill/>
        </p:spPr>
        <p:txBody>
          <a:bodyPr wrap="square" lIns="91440" tIns="45720" rIns="91440" bIns="45720" anchor="t">
            <a:spAutoFit/>
          </a:bodyPr>
          <a:lstStyle/>
          <a:p>
            <a:pPr marL="9525">
              <a:spcBef>
                <a:spcPts val="1200"/>
              </a:spcBef>
              <a:spcAft>
                <a:spcPts val="1200"/>
              </a:spcAft>
              <a:buClr>
                <a:srgbClr val="7414DC"/>
              </a:buClr>
              <a:buSzPct val="125000"/>
              <a:defRPr/>
            </a:pPr>
            <a:r>
              <a:rPr lang="en-GB" sz="1800" b="1">
                <a:latin typeface="Nunito Sans"/>
                <a:ea typeface="Calibri"/>
                <a:cs typeface="Calibri"/>
              </a:rPr>
              <a:t>Early Adopters </a:t>
            </a:r>
          </a:p>
          <a:p>
            <a:pPr marL="352425" indent="-342900">
              <a:spcBef>
                <a:spcPts val="1200"/>
              </a:spcBef>
              <a:spcAft>
                <a:spcPts val="1200"/>
              </a:spcAft>
              <a:buClr>
                <a:srgbClr val="7414DC"/>
              </a:buClr>
              <a:buSzPct val="125000"/>
              <a:buFont typeface="Arial" panose="020B0604020202020204" pitchFamily="34" charset="0"/>
              <a:buChar char="•"/>
              <a:defRPr/>
            </a:pPr>
            <a:r>
              <a:rPr lang="en-GB" sz="1800">
                <a:latin typeface="Nunito Sans"/>
                <a:ea typeface="Calibri"/>
                <a:cs typeface="Calibri"/>
              </a:rPr>
              <a:t>Will start using the new digital tools, processes and structures from middle of February 2024</a:t>
            </a:r>
          </a:p>
          <a:p>
            <a:pPr marL="352425" indent="-342900">
              <a:spcBef>
                <a:spcPts val="1200"/>
              </a:spcBef>
              <a:spcAft>
                <a:spcPts val="1200"/>
              </a:spcAft>
              <a:buClr>
                <a:srgbClr val="7414DC"/>
              </a:buClr>
              <a:buSzPct val="125000"/>
              <a:buFont typeface="Arial" panose="020B0604020202020204" pitchFamily="34" charset="0"/>
              <a:buChar char="•"/>
              <a:defRPr/>
            </a:pPr>
            <a:r>
              <a:rPr lang="en-GB" sz="1800">
                <a:latin typeface="Nunito Sans"/>
                <a:ea typeface="Calibri"/>
                <a:cs typeface="Calibri"/>
              </a:rPr>
              <a:t>Counties must please update Compass information by 15 January (exact dates to be confirmed)</a:t>
            </a:r>
          </a:p>
          <a:p>
            <a:pPr marL="9525">
              <a:spcBef>
                <a:spcPts val="1200"/>
              </a:spcBef>
              <a:spcAft>
                <a:spcPts val="1200"/>
              </a:spcAft>
              <a:buClr>
                <a:srgbClr val="7414DC"/>
              </a:buClr>
              <a:buSzPct val="125000"/>
              <a:defRPr/>
            </a:pPr>
            <a:r>
              <a:rPr lang="en-GB" sz="1800" b="1">
                <a:latin typeface="Nunito Sans"/>
                <a:ea typeface="Calibri"/>
                <a:cs typeface="Calibri"/>
              </a:rPr>
              <a:t>All Counties</a:t>
            </a:r>
          </a:p>
          <a:p>
            <a:pPr marL="352425" indent="-342900">
              <a:spcBef>
                <a:spcPts val="1200"/>
              </a:spcBef>
              <a:spcAft>
                <a:spcPts val="1200"/>
              </a:spcAft>
              <a:buClr>
                <a:srgbClr val="7414DC"/>
              </a:buClr>
              <a:buSzPct val="125000"/>
              <a:buFont typeface="Arial" panose="020B0604020202020204" pitchFamily="34" charset="0"/>
              <a:buChar char="•"/>
              <a:defRPr/>
            </a:pPr>
            <a:r>
              <a:rPr lang="en-GB" sz="1800">
                <a:latin typeface="Nunito Sans"/>
                <a:ea typeface="Calibri"/>
                <a:cs typeface="Calibri"/>
              </a:rPr>
              <a:t>Will start using the new digital tools, processes and structures from end of April 2024</a:t>
            </a:r>
          </a:p>
          <a:p>
            <a:pPr marL="352425" indent="-342900">
              <a:spcBef>
                <a:spcPts val="1200"/>
              </a:spcBef>
              <a:spcAft>
                <a:spcPts val="1200"/>
              </a:spcAft>
              <a:buClr>
                <a:srgbClr val="7414DC"/>
              </a:buClr>
              <a:buSzPct val="125000"/>
              <a:buFont typeface="Arial" panose="020B0604020202020204" pitchFamily="34" charset="0"/>
              <a:buChar char="•"/>
              <a:defRPr/>
            </a:pPr>
            <a:r>
              <a:rPr lang="en-GB" sz="1800">
                <a:latin typeface="Nunito Sans"/>
                <a:ea typeface="Calibri"/>
                <a:cs typeface="Calibri"/>
              </a:rPr>
              <a:t>Counties must please update Compass information by 31 March (exact dates to be confirmed)</a:t>
            </a:r>
            <a:endParaRPr lang="en-GB" sz="1000">
              <a:latin typeface="Nunito Sans"/>
              <a:ea typeface="Calibri"/>
              <a:cs typeface="Calibri"/>
            </a:endParaRPr>
          </a:p>
        </p:txBody>
      </p:sp>
    </p:spTree>
    <p:extLst>
      <p:ext uri="{BB962C8B-B14F-4D97-AF65-F5344CB8AC3E}">
        <p14:creationId xmlns:p14="http://schemas.microsoft.com/office/powerpoint/2010/main" val="12961639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209697" y="1626486"/>
            <a:ext cx="5683003" cy="4116512"/>
          </a:xfrm>
          <a:prstGeom prst="rect">
            <a:avLst/>
          </a:prstGeom>
        </p:spPr>
        <p:txBody>
          <a:bodyPr vert="horz" wrap="square" lIns="0" tIns="0" rIns="0" bIns="0" rtlCol="0" anchor="t">
            <a:spAutoFit/>
          </a:bodyPr>
          <a:lstStyle/>
          <a:p>
            <a:pPr marL="285750" lvl="1" indent="-285750">
              <a:spcBef>
                <a:spcPts val="1500"/>
              </a:spcBef>
              <a:buClr>
                <a:srgbClr val="7414DC"/>
              </a:buClr>
              <a:buSzPct val="125000"/>
              <a:buFont typeface="Arial"/>
              <a:buChar char="•"/>
              <a:tabLst>
                <a:tab pos="523399" algn="l"/>
                <a:tab pos="523875" algn="l"/>
              </a:tabLst>
            </a:pPr>
            <a:r>
              <a:rPr lang="en-GB" sz="1800" b="1">
                <a:latin typeface="Nunito Sans"/>
                <a:cs typeface="Calibri"/>
              </a:rPr>
              <a:t>Craig </a:t>
            </a:r>
            <a:r>
              <a:rPr lang="en-GB" sz="1800" b="1" err="1">
                <a:latin typeface="Nunito Sans"/>
                <a:cs typeface="Calibri"/>
              </a:rPr>
              <a:t>Turpie</a:t>
            </a:r>
            <a:r>
              <a:rPr lang="en-GB" sz="1800" b="1">
                <a:latin typeface="Nunito Sans"/>
                <a:cs typeface="Calibri"/>
              </a:rPr>
              <a:t>,</a:t>
            </a:r>
            <a:r>
              <a:rPr lang="en-GB" sz="1800">
                <a:latin typeface="Nunito Sans"/>
                <a:cs typeface="Calibri"/>
              </a:rPr>
              <a:t> Deputy UK Chief Commissioner</a:t>
            </a:r>
          </a:p>
          <a:p>
            <a:pPr marL="285750" lvl="1" indent="-285750">
              <a:spcBef>
                <a:spcPts val="1500"/>
              </a:spcBef>
              <a:buClr>
                <a:srgbClr val="7414DC"/>
              </a:buClr>
              <a:buSzPct val="125000"/>
              <a:buFont typeface="Arial"/>
              <a:buChar char="•"/>
              <a:tabLst>
                <a:tab pos="523399" algn="l"/>
                <a:tab pos="523875" algn="l"/>
              </a:tabLst>
            </a:pPr>
            <a:r>
              <a:rPr lang="en-GB" sz="1800" b="1">
                <a:latin typeface="Nunito Sans"/>
                <a:cs typeface="Calibri"/>
              </a:rPr>
              <a:t>Andrew Sutherland,</a:t>
            </a:r>
            <a:r>
              <a:rPr lang="en-GB" sz="1800">
                <a:latin typeface="Nunito Sans"/>
                <a:cs typeface="Calibri"/>
              </a:rPr>
              <a:t> Deputy Programme Sponsor</a:t>
            </a:r>
          </a:p>
          <a:p>
            <a:pPr marL="285750" lvl="1" indent="-285750">
              <a:spcBef>
                <a:spcPts val="1500"/>
              </a:spcBef>
              <a:buClr>
                <a:srgbClr val="7414DC"/>
              </a:buClr>
              <a:buSzPct val="125000"/>
              <a:buFont typeface="Arial"/>
              <a:buChar char="•"/>
              <a:tabLst>
                <a:tab pos="523399" algn="l"/>
                <a:tab pos="523875" algn="l"/>
              </a:tabLst>
            </a:pPr>
            <a:r>
              <a:rPr lang="en-GB" sz="1800" b="1">
                <a:latin typeface="Nunito Sans"/>
                <a:cs typeface="Calibri"/>
              </a:rPr>
              <a:t>Hamish Stout,</a:t>
            </a:r>
            <a:r>
              <a:rPr lang="en-GB" sz="1800">
                <a:latin typeface="Nunito Sans"/>
                <a:cs typeface="Calibri"/>
              </a:rPr>
              <a:t> Deputy UK Commissioner for People (Transformation)</a:t>
            </a:r>
          </a:p>
          <a:p>
            <a:pPr marL="285750" lvl="1" indent="-285750">
              <a:spcBef>
                <a:spcPts val="1500"/>
              </a:spcBef>
              <a:buClr>
                <a:srgbClr val="7414DC"/>
              </a:buClr>
              <a:buSzPct val="125000"/>
              <a:buFont typeface="Arial"/>
              <a:buChar char="•"/>
              <a:tabLst>
                <a:tab pos="523399" algn="l"/>
                <a:tab pos="523875" algn="l"/>
              </a:tabLst>
            </a:pPr>
            <a:r>
              <a:rPr lang="en-US" sz="1800" b="1">
                <a:latin typeface="Nunito Sans"/>
                <a:cs typeface="Calibri"/>
              </a:rPr>
              <a:t>Lara Burns, </a:t>
            </a:r>
            <a:r>
              <a:rPr lang="en-US" sz="1800">
                <a:latin typeface="Nunito Sans"/>
                <a:cs typeface="Calibri"/>
              </a:rPr>
              <a:t>Chief Digital Officer</a:t>
            </a:r>
          </a:p>
          <a:p>
            <a:pPr marL="285750" lvl="1" indent="-285750">
              <a:spcBef>
                <a:spcPts val="1500"/>
              </a:spcBef>
              <a:buClr>
                <a:srgbClr val="7414DC"/>
              </a:buClr>
              <a:buSzPct val="125000"/>
              <a:buFont typeface="Arial"/>
              <a:buChar char="•"/>
              <a:tabLst>
                <a:tab pos="523399" algn="l"/>
                <a:tab pos="523875" algn="l"/>
              </a:tabLst>
            </a:pPr>
            <a:r>
              <a:rPr lang="en-US" sz="1800" b="1">
                <a:latin typeface="Nunito Sans"/>
                <a:cs typeface="Calibri"/>
              </a:rPr>
              <a:t>Graham Phillips, </a:t>
            </a:r>
            <a:r>
              <a:rPr lang="en-US" sz="1800">
                <a:latin typeface="Nunito Sans"/>
                <a:cs typeface="Calibri"/>
              </a:rPr>
              <a:t>Project Sponsor - Membership System</a:t>
            </a:r>
            <a:endParaRPr lang="en-US" sz="1800" b="1">
              <a:latin typeface="Nunito Sans"/>
              <a:cs typeface="Calibri"/>
            </a:endParaRPr>
          </a:p>
          <a:p>
            <a:pPr marL="285750" lvl="1" indent="-285750">
              <a:spcBef>
                <a:spcPts val="1500"/>
              </a:spcBef>
              <a:buClr>
                <a:srgbClr val="7414DC"/>
              </a:buClr>
              <a:buSzPct val="125000"/>
              <a:buFont typeface="Arial"/>
              <a:buChar char="•"/>
              <a:tabLst>
                <a:tab pos="523399" algn="l"/>
                <a:tab pos="523875" algn="l"/>
              </a:tabLst>
            </a:pPr>
            <a:r>
              <a:rPr lang="en-US" sz="1800" b="1">
                <a:latin typeface="Nunito Sans"/>
                <a:cs typeface="Calibri"/>
              </a:rPr>
              <a:t>James Booker,</a:t>
            </a:r>
            <a:r>
              <a:rPr lang="en-US" sz="1800">
                <a:latin typeface="Nunito Sans"/>
                <a:cs typeface="Calibri"/>
              </a:rPr>
              <a:t> Head of Portfolio Delivery &amp; Change</a:t>
            </a:r>
          </a:p>
          <a:p>
            <a:pPr marL="285750" lvl="1" indent="-285750">
              <a:spcBef>
                <a:spcPts val="1500"/>
              </a:spcBef>
              <a:buClr>
                <a:srgbClr val="7414DC"/>
              </a:buClr>
              <a:buSzPct val="125000"/>
              <a:buFont typeface="Arial"/>
              <a:buChar char="•"/>
              <a:tabLst>
                <a:tab pos="523399" algn="l"/>
                <a:tab pos="523875" algn="l"/>
              </a:tabLst>
            </a:pPr>
            <a:r>
              <a:rPr lang="en-GB" sz="1800" b="1">
                <a:latin typeface="Nunito Sans"/>
                <a:cs typeface="Calibri"/>
              </a:rPr>
              <a:t>Adam Ray,</a:t>
            </a:r>
            <a:r>
              <a:rPr lang="en-GB" sz="1800">
                <a:latin typeface="Nunito Sans"/>
                <a:cs typeface="Calibri"/>
              </a:rPr>
              <a:t> Communications Manager</a:t>
            </a:r>
            <a:endParaRPr lang="en-US" sz="1800">
              <a:latin typeface="Nunito Sans"/>
              <a:cs typeface="Calibri"/>
            </a:endParaRPr>
          </a:p>
          <a:p>
            <a:pPr marL="285750" lvl="1" indent="-285750">
              <a:spcBef>
                <a:spcPts val="1500"/>
              </a:spcBef>
              <a:buClr>
                <a:srgbClr val="7414DC"/>
              </a:buClr>
              <a:buSzPct val="125000"/>
              <a:buFont typeface="Arial"/>
              <a:buChar char="•"/>
              <a:tabLst>
                <a:tab pos="523399" algn="l"/>
                <a:tab pos="523875" algn="l"/>
              </a:tabLst>
            </a:pPr>
            <a:r>
              <a:rPr lang="en-GB" sz="1800" b="1">
                <a:latin typeface="Nunito Sans"/>
                <a:cs typeface="Calibri"/>
              </a:rPr>
              <a:t>Elizabeth </a:t>
            </a:r>
            <a:r>
              <a:rPr lang="en-GB" sz="1800" b="1" err="1">
                <a:latin typeface="Nunito Sans"/>
                <a:cs typeface="Calibri"/>
              </a:rPr>
              <a:t>Stormfield</a:t>
            </a:r>
            <a:r>
              <a:rPr lang="en-GB" sz="1800" b="1">
                <a:latin typeface="Nunito Sans"/>
                <a:cs typeface="Calibri"/>
              </a:rPr>
              <a:t> &amp; Rob Groves, </a:t>
            </a:r>
            <a:r>
              <a:rPr lang="en-GB" sz="1800">
                <a:latin typeface="Nunito Sans"/>
                <a:cs typeface="Calibri"/>
              </a:rPr>
              <a:t>Change Team</a:t>
            </a:r>
          </a:p>
        </p:txBody>
      </p:sp>
      <p:sp>
        <p:nvSpPr>
          <p:cNvPr id="3" name="TextBox 2">
            <a:extLst>
              <a:ext uri="{FF2B5EF4-FFF2-40B4-BE49-F238E27FC236}">
                <a16:creationId xmlns:a16="http://schemas.microsoft.com/office/drawing/2014/main" id="{C442F3DC-9009-C8F9-A8ED-6C3994E56C41}"/>
              </a:ext>
            </a:extLst>
          </p:cNvPr>
          <p:cNvSpPr txBox="1"/>
          <p:nvPr/>
        </p:nvSpPr>
        <p:spPr>
          <a:xfrm>
            <a:off x="209697" y="437825"/>
            <a:ext cx="3936678" cy="584775"/>
          </a:xfrm>
          <a:prstGeom prst="rect">
            <a:avLst/>
          </a:prstGeom>
          <a:noFill/>
        </p:spPr>
        <p:txBody>
          <a:bodyPr wrap="square">
            <a:spAutoFit/>
          </a:bodyPr>
          <a:lstStyle/>
          <a:p>
            <a:pPr marL="64770">
              <a:spcBef>
                <a:spcPts val="2145"/>
              </a:spcBef>
            </a:pPr>
            <a:r>
              <a:rPr lang="en-GB" sz="3200">
                <a:solidFill>
                  <a:srgbClr val="7413DC"/>
                </a:solidFill>
                <a:latin typeface="Nunito Sans Black" panose="00000A00000000000000" pitchFamily="2" charset="0"/>
                <a:cs typeface="Nunito Sans Black"/>
              </a:rPr>
              <a:t>Who's on the call?</a:t>
            </a:r>
          </a:p>
        </p:txBody>
      </p:sp>
      <p:pic>
        <p:nvPicPr>
          <p:cNvPr id="7" name="Picture 3" descr="A group of kids sitting on the floor&#10;&#10;Description automatically generated with medium confidence">
            <a:extLst>
              <a:ext uri="{FF2B5EF4-FFF2-40B4-BE49-F238E27FC236}">
                <a16:creationId xmlns:a16="http://schemas.microsoft.com/office/drawing/2014/main" id="{065A4AA8-EAEC-5B1E-CCD1-F3937E82191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6021" r="24726"/>
          <a:stretch/>
        </p:blipFill>
        <p:spPr>
          <a:xfrm>
            <a:off x="6096000" y="0"/>
            <a:ext cx="6096000" cy="6858000"/>
          </a:xfrm>
          <a:prstGeom prst="rect">
            <a:avLst/>
          </a:prstGeom>
        </p:spPr>
      </p:pic>
    </p:spTree>
    <p:extLst>
      <p:ext uri="{BB962C8B-B14F-4D97-AF65-F5344CB8AC3E}">
        <p14:creationId xmlns:p14="http://schemas.microsoft.com/office/powerpoint/2010/main" val="9951311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52EBD7CB-CAB0-238B-96A4-71E2BBF45749}"/>
              </a:ext>
            </a:extLst>
          </p:cNvPr>
          <p:cNvSpPr txBox="1"/>
          <p:nvPr/>
        </p:nvSpPr>
        <p:spPr>
          <a:xfrm>
            <a:off x="466472" y="753235"/>
            <a:ext cx="5376502" cy="461665"/>
          </a:xfrm>
          <a:prstGeom prst="rect">
            <a:avLst/>
          </a:prstGeom>
        </p:spPr>
        <p:txBody>
          <a:bodyPr vert="horz" wrap="square" lIns="0" tIns="0" rIns="0" bIns="0" rtlCol="0" anchor="t">
            <a:spAutoFit/>
          </a:bodyPr>
          <a:lstStyle/>
          <a:p>
            <a:pPr marL="0" lvl="1" defTabSz="685784"/>
            <a:r>
              <a:rPr lang="en-GB" sz="3000" kern="0">
                <a:solidFill>
                  <a:srgbClr val="7413DC"/>
                </a:solidFill>
                <a:latin typeface="Nunito Sans Black"/>
                <a:cs typeface="Calibri"/>
              </a:rPr>
              <a:t>Communications</a:t>
            </a:r>
            <a:endParaRPr lang="en-US"/>
          </a:p>
        </p:txBody>
      </p:sp>
      <p:sp>
        <p:nvSpPr>
          <p:cNvPr id="2" name="TextBox 1">
            <a:extLst>
              <a:ext uri="{FF2B5EF4-FFF2-40B4-BE49-F238E27FC236}">
                <a16:creationId xmlns:a16="http://schemas.microsoft.com/office/drawing/2014/main" id="{522EEE5A-03CB-9A33-623D-6B7257D58158}"/>
              </a:ext>
            </a:extLst>
          </p:cNvPr>
          <p:cNvSpPr txBox="1"/>
          <p:nvPr/>
        </p:nvSpPr>
        <p:spPr>
          <a:xfrm>
            <a:off x="381567" y="1600806"/>
            <a:ext cx="5376502" cy="4685898"/>
          </a:xfrm>
          <a:prstGeom prst="rect">
            <a:avLst/>
          </a:prstGeom>
          <a:noFill/>
        </p:spPr>
        <p:txBody>
          <a:bodyPr wrap="square" lIns="68580" tIns="34290" rIns="68580" bIns="34290" rtlCol="0" anchor="t">
            <a:spAutoFit/>
          </a:bodyPr>
          <a:lstStyle/>
          <a:p>
            <a:pPr marL="352425" indent="-342900">
              <a:spcBef>
                <a:spcPts val="600"/>
              </a:spcBef>
              <a:spcAft>
                <a:spcPts val="600"/>
              </a:spcAft>
              <a:buClr>
                <a:srgbClr val="7414DC"/>
              </a:buClr>
              <a:buSzPct val="125000"/>
              <a:buFont typeface="Arial" panose="020B0604020202020204" pitchFamily="34" charset="0"/>
              <a:buChar char="•"/>
            </a:pPr>
            <a:r>
              <a:rPr lang="en-GB" sz="2000">
                <a:latin typeface="Nunito Sans"/>
              </a:rPr>
              <a:t>Friday 13 October: Transformation Leads Newsletter </a:t>
            </a:r>
          </a:p>
          <a:p>
            <a:pPr marL="352425" indent="-342900">
              <a:spcBef>
                <a:spcPts val="600"/>
              </a:spcBef>
              <a:spcAft>
                <a:spcPts val="600"/>
              </a:spcAft>
              <a:buClr>
                <a:srgbClr val="7414DC"/>
              </a:buClr>
              <a:buSzPct val="125000"/>
              <a:buFont typeface="Arial" panose="020B0604020202020204" pitchFamily="34" charset="0"/>
              <a:buChar char="•"/>
            </a:pPr>
            <a:endParaRPr lang="en-GB" sz="2000">
              <a:latin typeface="Nunito Sans"/>
            </a:endParaRPr>
          </a:p>
          <a:p>
            <a:pPr marL="352425" indent="-342900">
              <a:spcBef>
                <a:spcPts val="600"/>
              </a:spcBef>
              <a:spcAft>
                <a:spcPts val="600"/>
              </a:spcAft>
              <a:buClr>
                <a:srgbClr val="7414DC"/>
              </a:buClr>
              <a:buSzPct val="125000"/>
              <a:buFont typeface="Arial" panose="020B0604020202020204" pitchFamily="34" charset="0"/>
              <a:buChar char="•"/>
            </a:pPr>
            <a:r>
              <a:rPr lang="en-GB" sz="2000">
                <a:latin typeface="Nunito Sans"/>
              </a:rPr>
              <a:t>Thursday 19 October:</a:t>
            </a:r>
            <a:br>
              <a:rPr lang="en-GB" sz="2000">
                <a:latin typeface="Nunito Sans"/>
              </a:rPr>
            </a:br>
            <a:r>
              <a:rPr lang="en-GB" sz="2000">
                <a:latin typeface="Nunito Sans"/>
              </a:rPr>
              <a:t>County and District Commissioner and Chairs Call</a:t>
            </a:r>
          </a:p>
          <a:p>
            <a:pPr marL="352425" indent="-342900">
              <a:spcBef>
                <a:spcPts val="600"/>
              </a:spcBef>
              <a:spcAft>
                <a:spcPts val="600"/>
              </a:spcAft>
              <a:buClr>
                <a:srgbClr val="7414DC"/>
              </a:buClr>
              <a:buSzPct val="125000"/>
              <a:buFont typeface="Arial" panose="020B0604020202020204" pitchFamily="34" charset="0"/>
              <a:buChar char="•"/>
            </a:pPr>
            <a:endParaRPr lang="en-GB" sz="2000">
              <a:latin typeface="Nunito Sans"/>
            </a:endParaRPr>
          </a:p>
          <a:p>
            <a:pPr marL="352425" indent="-342900">
              <a:spcBef>
                <a:spcPts val="600"/>
              </a:spcBef>
              <a:spcAft>
                <a:spcPts val="600"/>
              </a:spcAft>
              <a:buClr>
                <a:srgbClr val="7414DC"/>
              </a:buClr>
              <a:buSzPct val="125000"/>
              <a:buFont typeface="Arial" panose="020B0604020202020204" pitchFamily="34" charset="0"/>
              <a:buChar char="•"/>
            </a:pPr>
            <a:r>
              <a:rPr lang="en-GB" sz="2000" b="1">
                <a:solidFill>
                  <a:schemeClr val="tx2"/>
                </a:solidFill>
                <a:latin typeface="Nunito Sans"/>
              </a:rPr>
              <a:t>Tuesday 31 October:</a:t>
            </a:r>
            <a:br>
              <a:rPr lang="en-GB" sz="2000" b="1">
                <a:latin typeface="Nunito Sans"/>
              </a:rPr>
            </a:br>
            <a:r>
              <a:rPr lang="en-GB" sz="2000" b="1">
                <a:solidFill>
                  <a:schemeClr val="tx2"/>
                </a:solidFill>
                <a:latin typeface="Nunito Sans"/>
              </a:rPr>
              <a:t>Transformation Leads Call</a:t>
            </a:r>
          </a:p>
          <a:p>
            <a:pPr marL="352425" indent="-342900">
              <a:spcBef>
                <a:spcPts val="600"/>
              </a:spcBef>
              <a:spcAft>
                <a:spcPts val="600"/>
              </a:spcAft>
              <a:buClr>
                <a:srgbClr val="7414DC"/>
              </a:buClr>
              <a:buSzPct val="125000"/>
              <a:buFont typeface="Arial" panose="020B0604020202020204" pitchFamily="34" charset="0"/>
              <a:buChar char="•"/>
            </a:pPr>
            <a:endParaRPr lang="en-GB" sz="2000">
              <a:latin typeface="Nunito Sans"/>
            </a:endParaRPr>
          </a:p>
          <a:p>
            <a:pPr marL="352425" indent="-342900">
              <a:spcBef>
                <a:spcPts val="600"/>
              </a:spcBef>
              <a:spcAft>
                <a:spcPts val="600"/>
              </a:spcAft>
              <a:buClr>
                <a:srgbClr val="7414DC"/>
              </a:buClr>
              <a:buSzPct val="125000"/>
              <a:buFont typeface="Arial" panose="020B0604020202020204" pitchFamily="34" charset="0"/>
              <a:buChar char="•"/>
            </a:pPr>
            <a:r>
              <a:rPr lang="en-GB" sz="2000">
                <a:latin typeface="Nunito Sans"/>
              </a:rPr>
              <a:t>Tuesday 7 November:</a:t>
            </a:r>
            <a:br>
              <a:rPr lang="en-GB" sz="2000">
                <a:latin typeface="Nunito Sans"/>
              </a:rPr>
            </a:br>
            <a:r>
              <a:rPr lang="en-GB" sz="2000">
                <a:latin typeface="Nunito Sans"/>
              </a:rPr>
              <a:t>All Member Email</a:t>
            </a:r>
          </a:p>
        </p:txBody>
      </p:sp>
      <p:pic>
        <p:nvPicPr>
          <p:cNvPr id="4" name="Picture 16" descr="A person giving a presentation to an audience&#10;&#10;Description automatically generated">
            <a:extLst>
              <a:ext uri="{FF2B5EF4-FFF2-40B4-BE49-F238E27FC236}">
                <a16:creationId xmlns:a16="http://schemas.microsoft.com/office/drawing/2014/main" id="{56900218-B80C-5C05-8D5E-5DA81341F776}"/>
              </a:ext>
            </a:extLst>
          </p:cNvPr>
          <p:cNvPicPr>
            <a:picLocks noChangeAspect="1"/>
          </p:cNvPicPr>
          <p:nvPr/>
        </p:nvPicPr>
        <p:blipFill rotWithShape="1">
          <a:blip r:embed="rId3"/>
          <a:srcRect l="24761" t="8490" r="23098"/>
          <a:stretch/>
        </p:blipFill>
        <p:spPr>
          <a:xfrm>
            <a:off x="6096000" y="0"/>
            <a:ext cx="6096000" cy="6858000"/>
          </a:xfrm>
          <a:prstGeom prst="rect">
            <a:avLst/>
          </a:prstGeom>
        </p:spPr>
      </p:pic>
    </p:spTree>
    <p:extLst>
      <p:ext uri="{BB962C8B-B14F-4D97-AF65-F5344CB8AC3E}">
        <p14:creationId xmlns:p14="http://schemas.microsoft.com/office/powerpoint/2010/main" val="2587668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04683" y="4694209"/>
            <a:ext cx="9529763"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Questions</a:t>
            </a:r>
            <a:endParaRPr lang="en-US"/>
          </a:p>
        </p:txBody>
      </p:sp>
      <p:pic>
        <p:nvPicPr>
          <p:cNvPr id="3" name="Graphic 2" descr="Thought bubble outline">
            <a:extLst>
              <a:ext uri="{FF2B5EF4-FFF2-40B4-BE49-F238E27FC236}">
                <a16:creationId xmlns:a16="http://schemas.microsoft.com/office/drawing/2014/main" id="{CCCB41DA-79BD-0D05-4368-0E61B5A9AD5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87790" y="3429000"/>
            <a:ext cx="2700000" cy="2700000"/>
          </a:xfrm>
          <a:prstGeom prst="rect">
            <a:avLst/>
          </a:prstGeom>
        </p:spPr>
      </p:pic>
      <p:pic>
        <p:nvPicPr>
          <p:cNvPr id="8" name="Graphic 7" descr="Lightbulb and gear outline">
            <a:extLst>
              <a:ext uri="{FF2B5EF4-FFF2-40B4-BE49-F238E27FC236}">
                <a16:creationId xmlns:a16="http://schemas.microsoft.com/office/drawing/2014/main" id="{F561D2E0-CE73-0719-9B77-E9FA5B7C703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38990" y="1030184"/>
            <a:ext cx="2700000" cy="2700000"/>
          </a:xfrm>
          <a:prstGeom prst="rect">
            <a:avLst/>
          </a:prstGeom>
        </p:spPr>
      </p:pic>
      <p:pic>
        <p:nvPicPr>
          <p:cNvPr id="10" name="Graphic 9" descr="Chat bubble outline">
            <a:extLst>
              <a:ext uri="{FF2B5EF4-FFF2-40B4-BE49-F238E27FC236}">
                <a16:creationId xmlns:a16="http://schemas.microsoft.com/office/drawing/2014/main" id="{969CDB01-52C8-EE15-65C3-FDDA999CF71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53011" y="1138510"/>
            <a:ext cx="2700000" cy="2700000"/>
          </a:xfrm>
          <a:prstGeom prst="rect">
            <a:avLst/>
          </a:prstGeom>
        </p:spPr>
      </p:pic>
    </p:spTree>
    <p:extLst>
      <p:ext uri="{BB962C8B-B14F-4D97-AF65-F5344CB8AC3E}">
        <p14:creationId xmlns:p14="http://schemas.microsoft.com/office/powerpoint/2010/main" val="8742498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11162966"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Go-Live Support</a:t>
            </a:r>
            <a:endParaRPr lang="en-US">
              <a:latin typeface="Nunito Sans"/>
            </a:endParaRPr>
          </a:p>
        </p:txBody>
      </p:sp>
    </p:spTree>
    <p:extLst>
      <p:ext uri="{BB962C8B-B14F-4D97-AF65-F5344CB8AC3E}">
        <p14:creationId xmlns:p14="http://schemas.microsoft.com/office/powerpoint/2010/main" val="28613566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4FD1763-E64D-4529-0D89-4F515C46659E}"/>
              </a:ext>
            </a:extLst>
          </p:cNvPr>
          <p:cNvSpPr txBox="1"/>
          <p:nvPr/>
        </p:nvSpPr>
        <p:spPr>
          <a:xfrm>
            <a:off x="6187513" y="976962"/>
            <a:ext cx="5779200" cy="523220"/>
          </a:xfrm>
          <a:prstGeom prst="rect">
            <a:avLst/>
          </a:prstGeom>
          <a:noFill/>
        </p:spPr>
        <p:txBody>
          <a:bodyPr wrap="square" lIns="91440" tIns="45720" rIns="91440" bIns="45720" anchor="t">
            <a:spAutoFit/>
          </a:bodyPr>
          <a:lstStyle/>
          <a:p>
            <a:pPr marL="64770" marR="0" lvl="0" indent="0" algn="l" defTabSz="685800" rtl="0" eaLnBrk="1" fontAlgn="auto" latinLnBrk="0" hangingPunct="1">
              <a:lnSpc>
                <a:spcPct val="100000"/>
              </a:lnSpc>
              <a:spcBef>
                <a:spcPts val="2145"/>
              </a:spcBef>
              <a:spcAft>
                <a:spcPts val="0"/>
              </a:spcAft>
              <a:buClrTx/>
              <a:buSzTx/>
              <a:buFontTx/>
              <a:buNone/>
              <a:tabLst/>
              <a:defRPr/>
            </a:pPr>
            <a:r>
              <a:rPr kumimoji="0" lang="en-GB" sz="2800" b="1" i="0" u="none" strike="noStrike" kern="1200" cap="none" spc="0" normalizeH="0" baseline="0" noProof="0">
                <a:ln>
                  <a:noFill/>
                </a:ln>
                <a:solidFill>
                  <a:srgbClr val="7413DC"/>
                </a:solidFill>
                <a:effectLst/>
                <a:uLnTx/>
                <a:uFillTx/>
                <a:latin typeface="Nunito Sans Black"/>
                <a:ea typeface="+mn-ea"/>
                <a:cs typeface="Nunito Sans Black"/>
              </a:rPr>
              <a:t>Support Model</a:t>
            </a:r>
          </a:p>
        </p:txBody>
      </p:sp>
      <p:pic>
        <p:nvPicPr>
          <p:cNvPr id="12" name="Picture 12">
            <a:extLst>
              <a:ext uri="{FF2B5EF4-FFF2-40B4-BE49-F238E27FC236}">
                <a16:creationId xmlns:a16="http://schemas.microsoft.com/office/drawing/2014/main" id="{F86538A6-6D76-DA12-E82B-5302A152B723}"/>
              </a:ext>
            </a:extLst>
          </p:cNvPr>
          <p:cNvPicPr>
            <a:picLocks noChangeAspect="1"/>
          </p:cNvPicPr>
          <p:nvPr/>
        </p:nvPicPr>
        <p:blipFill rotWithShape="1">
          <a:blip r:embed="rId2"/>
          <a:srcRect l="17088" r="17088"/>
          <a:stretch/>
        </p:blipFill>
        <p:spPr>
          <a:xfrm>
            <a:off x="0" y="0"/>
            <a:ext cx="6118946" cy="6858000"/>
          </a:xfrm>
          <a:prstGeom prst="rect">
            <a:avLst/>
          </a:prstGeom>
        </p:spPr>
      </p:pic>
      <p:sp>
        <p:nvSpPr>
          <p:cNvPr id="2" name="TextBox 1">
            <a:extLst>
              <a:ext uri="{FF2B5EF4-FFF2-40B4-BE49-F238E27FC236}">
                <a16:creationId xmlns:a16="http://schemas.microsoft.com/office/drawing/2014/main" id="{C75C9AC6-E8D4-81F8-873B-2AD9102C63CC}"/>
              </a:ext>
            </a:extLst>
          </p:cNvPr>
          <p:cNvSpPr txBox="1"/>
          <p:nvPr/>
        </p:nvSpPr>
        <p:spPr>
          <a:xfrm>
            <a:off x="6488925" y="1897967"/>
            <a:ext cx="5423266" cy="4093428"/>
          </a:xfrm>
          <a:prstGeom prst="rect">
            <a:avLst/>
          </a:prstGeom>
          <a:noFill/>
        </p:spPr>
        <p:txBody>
          <a:bodyPr wrap="square" lIns="91440" tIns="45720" rIns="91440" bIns="45720" rtlCol="0" anchor="t">
            <a:spAutoFit/>
          </a:bodyPr>
          <a:lstStyle/>
          <a:p>
            <a:pPr marL="285750" indent="-285750" defTabSz="685800">
              <a:spcBef>
                <a:spcPts val="1200"/>
              </a:spcBef>
              <a:spcAft>
                <a:spcPts val="1200"/>
              </a:spcAft>
              <a:buClr>
                <a:srgbClr val="7414DC"/>
              </a:buClr>
              <a:buSzPct val="125000"/>
              <a:buFont typeface="Arial" panose="020B0604020202020204" pitchFamily="34" charset="0"/>
              <a:buChar char="•"/>
              <a:defRPr/>
            </a:pPr>
            <a:r>
              <a:rPr lang="en-GB" sz="2000">
                <a:solidFill>
                  <a:srgbClr val="000000"/>
                </a:solidFill>
                <a:latin typeface="Nunito Sans"/>
              </a:rPr>
              <a:t>Support for volunteers will be needed during the weeks before and after go-live</a:t>
            </a:r>
          </a:p>
          <a:p>
            <a:pPr marL="285750" indent="-285750" defTabSz="685800">
              <a:spcBef>
                <a:spcPts val="1200"/>
              </a:spcBef>
              <a:spcAft>
                <a:spcPts val="1200"/>
              </a:spcAft>
              <a:buClr>
                <a:srgbClr val="7414DC"/>
              </a:buClr>
              <a:buSzPct val="125000"/>
              <a:buFont typeface="Arial" panose="020B0604020202020204" pitchFamily="34" charset="0"/>
              <a:buChar char="•"/>
              <a:defRPr/>
            </a:pPr>
            <a:r>
              <a:rPr lang="en-GB" sz="2000">
                <a:solidFill>
                  <a:srgbClr val="000000"/>
                </a:solidFill>
                <a:latin typeface="Nunito Sans"/>
              </a:rPr>
              <a:t>An HQ support model will be in-place, through the Support Centre, for volunteers</a:t>
            </a:r>
          </a:p>
          <a:p>
            <a:pPr marL="285750" indent="-285750" defTabSz="685800">
              <a:spcBef>
                <a:spcPts val="1200"/>
              </a:spcBef>
              <a:spcAft>
                <a:spcPts val="1200"/>
              </a:spcAft>
              <a:buClr>
                <a:srgbClr val="7414DC"/>
              </a:buClr>
              <a:buSzPct val="125000"/>
              <a:buFont typeface="Arial" panose="020B0604020202020204" pitchFamily="34" charset="0"/>
              <a:buChar char="•"/>
              <a:defRPr/>
            </a:pPr>
            <a:r>
              <a:rPr lang="en-GB" sz="2000">
                <a:solidFill>
                  <a:srgbClr val="000000"/>
                </a:solidFill>
                <a:latin typeface="Nunito Sans"/>
              </a:rPr>
              <a:t>An additional layer of support will be needed locally too, particularly for queries which can only be answered locally about:</a:t>
            </a:r>
          </a:p>
          <a:p>
            <a:pPr marL="628650" lvl="1" indent="-285750">
              <a:spcBef>
                <a:spcPts val="1200"/>
              </a:spcBef>
              <a:spcAft>
                <a:spcPts val="1200"/>
              </a:spcAft>
              <a:buClr>
                <a:srgbClr val="7414DC"/>
              </a:buClr>
              <a:buSzPct val="125000"/>
              <a:buFont typeface="Arial" panose="020B0604020202020204" pitchFamily="34" charset="0"/>
              <a:buChar char="•"/>
              <a:defRPr/>
            </a:pPr>
            <a:r>
              <a:rPr lang="en-GB" sz="2000">
                <a:solidFill>
                  <a:srgbClr val="000000"/>
                </a:solidFill>
                <a:latin typeface="Nunito Sans"/>
              </a:rPr>
              <a:t>County/District Structures</a:t>
            </a:r>
          </a:p>
          <a:p>
            <a:pPr marL="628650" lvl="1" indent="-285750">
              <a:spcBef>
                <a:spcPts val="1200"/>
              </a:spcBef>
              <a:spcAft>
                <a:spcPts val="1200"/>
              </a:spcAft>
              <a:buClr>
                <a:srgbClr val="7414DC"/>
              </a:buClr>
              <a:buSzPct val="125000"/>
              <a:buFont typeface="Arial" panose="020B0604020202020204" pitchFamily="34" charset="0"/>
              <a:buChar char="•"/>
              <a:defRPr/>
            </a:pPr>
            <a:r>
              <a:rPr lang="en-GB" sz="2000">
                <a:solidFill>
                  <a:srgbClr val="000000"/>
                </a:solidFill>
                <a:latin typeface="Nunito Sans"/>
              </a:rPr>
              <a:t>Changes to local Scouts processes</a:t>
            </a:r>
          </a:p>
        </p:txBody>
      </p:sp>
    </p:spTree>
    <p:extLst>
      <p:ext uri="{BB962C8B-B14F-4D97-AF65-F5344CB8AC3E}">
        <p14:creationId xmlns:p14="http://schemas.microsoft.com/office/powerpoint/2010/main" val="41679055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4FD1763-E64D-4529-0D89-4F515C46659E}"/>
              </a:ext>
            </a:extLst>
          </p:cNvPr>
          <p:cNvSpPr txBox="1"/>
          <p:nvPr/>
        </p:nvSpPr>
        <p:spPr>
          <a:xfrm>
            <a:off x="230648" y="976962"/>
            <a:ext cx="5779200" cy="523220"/>
          </a:xfrm>
          <a:prstGeom prst="rect">
            <a:avLst/>
          </a:prstGeom>
          <a:noFill/>
        </p:spPr>
        <p:txBody>
          <a:bodyPr wrap="square" lIns="91440" tIns="45720" rIns="91440" bIns="45720" anchor="t">
            <a:spAutoFit/>
          </a:bodyPr>
          <a:lstStyle/>
          <a:p>
            <a:pPr marL="64770" marR="0" lvl="0" indent="0" algn="l" defTabSz="685800" rtl="0" eaLnBrk="1" fontAlgn="auto" latinLnBrk="0" hangingPunct="1">
              <a:lnSpc>
                <a:spcPct val="100000"/>
              </a:lnSpc>
              <a:spcBef>
                <a:spcPts val="2145"/>
              </a:spcBef>
              <a:spcAft>
                <a:spcPts val="0"/>
              </a:spcAft>
              <a:buClrTx/>
              <a:buSzTx/>
              <a:buFontTx/>
              <a:buNone/>
              <a:tabLst/>
              <a:defRPr/>
            </a:pPr>
            <a:r>
              <a:rPr kumimoji="0" lang="en-GB" sz="2800" b="1" i="0" u="none" strike="noStrike" kern="1200" cap="none" spc="0" normalizeH="0" baseline="0" noProof="0">
                <a:ln>
                  <a:noFill/>
                </a:ln>
                <a:solidFill>
                  <a:srgbClr val="7413DC"/>
                </a:solidFill>
                <a:effectLst/>
                <a:uLnTx/>
                <a:uFillTx/>
                <a:latin typeface="Nunito Sans Black"/>
                <a:ea typeface="+mn-ea"/>
                <a:cs typeface="Nunito Sans Black"/>
              </a:rPr>
              <a:t>Local Support Needed</a:t>
            </a:r>
          </a:p>
        </p:txBody>
      </p:sp>
      <p:sp>
        <p:nvSpPr>
          <p:cNvPr id="2" name="TextBox 1">
            <a:extLst>
              <a:ext uri="{FF2B5EF4-FFF2-40B4-BE49-F238E27FC236}">
                <a16:creationId xmlns:a16="http://schemas.microsoft.com/office/drawing/2014/main" id="{C75C9AC6-E8D4-81F8-873B-2AD9102C63CC}"/>
              </a:ext>
            </a:extLst>
          </p:cNvPr>
          <p:cNvSpPr txBox="1"/>
          <p:nvPr/>
        </p:nvSpPr>
        <p:spPr>
          <a:xfrm>
            <a:off x="408615" y="1705461"/>
            <a:ext cx="5423266" cy="4647426"/>
          </a:xfrm>
          <a:prstGeom prst="rect">
            <a:avLst/>
          </a:prstGeom>
          <a:noFill/>
        </p:spPr>
        <p:txBody>
          <a:bodyPr wrap="square" lIns="91440" tIns="45720" rIns="91440" bIns="45720" rtlCol="0" anchor="t">
            <a:spAutoFit/>
          </a:bodyPr>
          <a:lstStyle/>
          <a:p>
            <a:pPr marL="9525">
              <a:spcBef>
                <a:spcPts val="1200"/>
              </a:spcBef>
              <a:spcAft>
                <a:spcPts val="600"/>
              </a:spcAft>
              <a:buClr>
                <a:srgbClr val="7414DC"/>
              </a:buClr>
              <a:buSzPct val="125000"/>
            </a:pPr>
            <a:r>
              <a:rPr lang="en-US" sz="1800" b="1">
                <a:latin typeface="Nunito Sans"/>
              </a:rPr>
              <a:t>System Advice</a:t>
            </a:r>
          </a:p>
          <a:p>
            <a:pPr marL="638175" lvl="1" indent="-285750">
              <a:spcBef>
                <a:spcPts val="600"/>
              </a:spcBef>
              <a:spcAft>
                <a:spcPts val="600"/>
              </a:spcAft>
              <a:buClr>
                <a:srgbClr val="7414DC"/>
              </a:buClr>
              <a:buSzPct val="125000"/>
              <a:buFont typeface="Arial" panose="020B0604020202020204" pitchFamily="34" charset="0"/>
              <a:buChar char="•"/>
            </a:pPr>
            <a:r>
              <a:rPr lang="en-US" sz="1800">
                <a:latin typeface="Nunito Sans"/>
              </a:rPr>
              <a:t>Where do I find X, Y or Z on the new system?</a:t>
            </a:r>
          </a:p>
          <a:p>
            <a:pPr marL="638175" lvl="1" indent="-285750">
              <a:spcBef>
                <a:spcPts val="600"/>
              </a:spcBef>
              <a:spcAft>
                <a:spcPts val="600"/>
              </a:spcAft>
              <a:buClr>
                <a:srgbClr val="7414DC"/>
              </a:buClr>
              <a:buSzPct val="125000"/>
              <a:buFont typeface="Arial" panose="020B0604020202020204" pitchFamily="34" charset="0"/>
              <a:buChar char="•"/>
            </a:pPr>
            <a:r>
              <a:rPr lang="en-US" sz="1800">
                <a:latin typeface="Nunito Sans"/>
              </a:rPr>
              <a:t>How do I add/change something on my record?, and so on. </a:t>
            </a:r>
            <a:endParaRPr lang="en-US" sz="1800" b="1">
              <a:latin typeface="Nunito Sans"/>
            </a:endParaRPr>
          </a:p>
          <a:p>
            <a:pPr marL="9525">
              <a:spcBef>
                <a:spcPts val="600"/>
              </a:spcBef>
              <a:spcAft>
                <a:spcPts val="600"/>
              </a:spcAft>
              <a:buClr>
                <a:srgbClr val="7414DC"/>
              </a:buClr>
              <a:buSzPct val="125000"/>
            </a:pPr>
            <a:r>
              <a:rPr lang="en-US" sz="1800" b="1">
                <a:latin typeface="Nunito Sans"/>
              </a:rPr>
              <a:t>Local Scouting Changes </a:t>
            </a:r>
          </a:p>
          <a:p>
            <a:pPr marL="9525">
              <a:spcBef>
                <a:spcPts val="600"/>
              </a:spcBef>
              <a:spcAft>
                <a:spcPts val="600"/>
              </a:spcAft>
              <a:buClr>
                <a:srgbClr val="7414DC"/>
              </a:buClr>
              <a:buSzPct val="125000"/>
            </a:pPr>
            <a:r>
              <a:rPr lang="en-US" sz="1800">
                <a:latin typeface="Nunito Sans"/>
              </a:rPr>
              <a:t>Who do I talk to about / How are we handling </a:t>
            </a:r>
            <a:br>
              <a:rPr lang="en-US" sz="1800">
                <a:latin typeface="Nunito Sans"/>
              </a:rPr>
            </a:br>
            <a:r>
              <a:rPr lang="en-US" sz="1800">
                <a:latin typeface="Nunito Sans"/>
              </a:rPr>
              <a:t>X, Y or Z?</a:t>
            </a:r>
          </a:p>
          <a:p>
            <a:pPr marL="638175" lvl="1" indent="-285750">
              <a:spcBef>
                <a:spcPts val="600"/>
              </a:spcBef>
              <a:spcAft>
                <a:spcPts val="600"/>
              </a:spcAft>
              <a:buClr>
                <a:srgbClr val="7414DC"/>
              </a:buClr>
              <a:buSzPct val="125000"/>
              <a:buFont typeface="Arial" panose="020B0604020202020204" pitchFamily="34" charset="0"/>
              <a:buChar char="•"/>
            </a:pPr>
            <a:r>
              <a:rPr lang="en-US" sz="1800">
                <a:latin typeface="Nunito Sans"/>
              </a:rPr>
              <a:t>Are we using the new NAN process? </a:t>
            </a:r>
            <a:endParaRPr lang="en-US" sz="1800" b="1">
              <a:latin typeface="Nunito Sans"/>
            </a:endParaRPr>
          </a:p>
          <a:p>
            <a:pPr marL="9525">
              <a:spcBef>
                <a:spcPts val="1200"/>
              </a:spcBef>
              <a:spcAft>
                <a:spcPts val="600"/>
              </a:spcAft>
              <a:buClr>
                <a:srgbClr val="7414DC"/>
              </a:buClr>
              <a:buSzPct val="125000"/>
            </a:pPr>
            <a:r>
              <a:rPr lang="en-US" sz="1800" b="1">
                <a:latin typeface="Nunito Sans"/>
              </a:rPr>
              <a:t>Signposting</a:t>
            </a:r>
          </a:p>
          <a:p>
            <a:pPr marL="638175" lvl="1" indent="-285750">
              <a:spcBef>
                <a:spcPts val="1200"/>
              </a:spcBef>
              <a:spcAft>
                <a:spcPts val="600"/>
              </a:spcAft>
              <a:buClr>
                <a:srgbClr val="7414DC"/>
              </a:buClr>
              <a:buSzPct val="125000"/>
              <a:buFont typeface="Arial" panose="020B0604020202020204" pitchFamily="34" charset="0"/>
              <a:buChar char="•"/>
            </a:pPr>
            <a:r>
              <a:rPr lang="en-US" sz="1800">
                <a:latin typeface="Nunito Sans"/>
              </a:rPr>
              <a:t>The Digital Skills Tool can also provide support for those with wider digital questions or support needs</a:t>
            </a:r>
          </a:p>
        </p:txBody>
      </p:sp>
      <p:pic>
        <p:nvPicPr>
          <p:cNvPr id="3" name="Picture 2" descr="A person talking to a person&#10;&#10;Description automatically generated with low confidence">
            <a:extLst>
              <a:ext uri="{FF2B5EF4-FFF2-40B4-BE49-F238E27FC236}">
                <a16:creationId xmlns:a16="http://schemas.microsoft.com/office/drawing/2014/main" id="{8BE1641B-C4CB-028A-DDFE-1D310BD6F04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3765" r="16590"/>
          <a:stretch/>
        </p:blipFill>
        <p:spPr>
          <a:xfrm>
            <a:off x="6056416" y="0"/>
            <a:ext cx="6135584" cy="6858000"/>
          </a:xfrm>
          <a:prstGeom prst="rect">
            <a:avLst/>
          </a:prstGeom>
        </p:spPr>
      </p:pic>
    </p:spTree>
    <p:extLst>
      <p:ext uri="{BB962C8B-B14F-4D97-AF65-F5344CB8AC3E}">
        <p14:creationId xmlns:p14="http://schemas.microsoft.com/office/powerpoint/2010/main" val="2249665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6459970" y="988150"/>
            <a:ext cx="5437683"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Local Support Model</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
        <p:nvSpPr>
          <p:cNvPr id="5" name="TextBox 4">
            <a:extLst>
              <a:ext uri="{FF2B5EF4-FFF2-40B4-BE49-F238E27FC236}">
                <a16:creationId xmlns:a16="http://schemas.microsoft.com/office/drawing/2014/main" id="{84C48AF2-D2F6-4B0B-E304-455BB55D6C69}"/>
              </a:ext>
            </a:extLst>
          </p:cNvPr>
          <p:cNvSpPr txBox="1"/>
          <p:nvPr/>
        </p:nvSpPr>
        <p:spPr>
          <a:xfrm>
            <a:off x="6459970" y="1749310"/>
            <a:ext cx="5423266" cy="4909036"/>
          </a:xfrm>
          <a:prstGeom prst="rect">
            <a:avLst/>
          </a:prstGeom>
          <a:noFill/>
        </p:spPr>
        <p:txBody>
          <a:bodyPr wrap="square" lIns="91440" tIns="45720" rIns="91440" bIns="45720" rtlCol="0" anchor="t">
            <a:spAutoFit/>
          </a:bodyPr>
          <a:lstStyle/>
          <a:p>
            <a:pPr marL="9525">
              <a:spcBef>
                <a:spcPts val="1200"/>
              </a:spcBef>
              <a:spcAft>
                <a:spcPts val="1200"/>
              </a:spcAft>
              <a:buClr>
                <a:srgbClr val="7414DC"/>
              </a:buClr>
              <a:buSzPct val="125000"/>
            </a:pPr>
            <a:r>
              <a:rPr lang="en-US" sz="1800">
                <a:latin typeface="Nunito Sans"/>
              </a:rPr>
              <a:t>Somewhere for people to get their questions answered locally </a:t>
            </a:r>
          </a:p>
          <a:p>
            <a:pPr marL="9525">
              <a:spcBef>
                <a:spcPts val="1200"/>
              </a:spcBef>
              <a:spcAft>
                <a:spcPts val="1200"/>
              </a:spcAft>
              <a:buClr>
                <a:srgbClr val="7414DC"/>
              </a:buClr>
              <a:buSzPct val="125000"/>
            </a:pPr>
            <a:r>
              <a:rPr lang="en-US" sz="1800">
                <a:latin typeface="Nunito Sans"/>
              </a:rPr>
              <a:t>Build this how it works best in your area:</a:t>
            </a:r>
          </a:p>
          <a:p>
            <a:pPr marL="695325" lvl="1" indent="-342900">
              <a:spcBef>
                <a:spcPts val="600"/>
              </a:spcBef>
              <a:spcAft>
                <a:spcPts val="600"/>
              </a:spcAft>
              <a:buClr>
                <a:srgbClr val="7414DC"/>
              </a:buClr>
              <a:buSzPct val="125000"/>
              <a:buFont typeface="Arial" panose="020B0604020202020204" pitchFamily="34" charset="0"/>
              <a:buChar char="•"/>
            </a:pPr>
            <a:r>
              <a:rPr lang="en-US" sz="1800">
                <a:latin typeface="Nunito Sans"/>
              </a:rPr>
              <a:t>Central inbox</a:t>
            </a:r>
          </a:p>
          <a:p>
            <a:pPr marL="695325" lvl="1" indent="-342900">
              <a:spcBef>
                <a:spcPts val="600"/>
              </a:spcBef>
              <a:spcAft>
                <a:spcPts val="600"/>
              </a:spcAft>
              <a:buClr>
                <a:srgbClr val="7414DC"/>
              </a:buClr>
              <a:buSzPct val="125000"/>
              <a:buFont typeface="Arial" panose="020B0604020202020204" pitchFamily="34" charset="0"/>
              <a:buChar char="•"/>
            </a:pPr>
            <a:r>
              <a:rPr lang="en-US" sz="1800">
                <a:latin typeface="Nunito Sans"/>
              </a:rPr>
              <a:t>WhatsApp/Facebook Groups</a:t>
            </a:r>
          </a:p>
          <a:p>
            <a:pPr marL="695325" lvl="1" indent="-342900">
              <a:spcBef>
                <a:spcPts val="600"/>
              </a:spcBef>
              <a:spcAft>
                <a:spcPts val="600"/>
              </a:spcAft>
              <a:buClr>
                <a:srgbClr val="7414DC"/>
              </a:buClr>
              <a:buSzPct val="125000"/>
              <a:buFont typeface="Arial" panose="020B0604020202020204" pitchFamily="34" charset="0"/>
              <a:buChar char="•"/>
            </a:pPr>
            <a:r>
              <a:rPr lang="en-US" sz="1800">
                <a:latin typeface="Nunito Sans"/>
              </a:rPr>
              <a:t>Using existing teams/structures</a:t>
            </a:r>
          </a:p>
          <a:p>
            <a:pPr marL="9525">
              <a:spcBef>
                <a:spcPts val="1200"/>
              </a:spcBef>
              <a:spcAft>
                <a:spcPts val="1200"/>
              </a:spcAft>
              <a:buClr>
                <a:srgbClr val="7414DC"/>
              </a:buClr>
              <a:buSzPct val="125000"/>
            </a:pPr>
            <a:r>
              <a:rPr lang="en-US" sz="1800">
                <a:latin typeface="Nunito Sans"/>
              </a:rPr>
              <a:t>This could be made up of people such as:</a:t>
            </a:r>
          </a:p>
          <a:p>
            <a:pPr marL="695325" lvl="1" indent="-342900">
              <a:spcBef>
                <a:spcPts val="600"/>
              </a:spcBef>
              <a:spcAft>
                <a:spcPts val="600"/>
              </a:spcAft>
              <a:buClr>
                <a:srgbClr val="7414DC"/>
              </a:buClr>
              <a:buSzPct val="125000"/>
              <a:buFont typeface="Arial" panose="020B0604020202020204" pitchFamily="34" charset="0"/>
              <a:buChar char="•"/>
            </a:pPr>
            <a:r>
              <a:rPr lang="en-US" sz="1800">
                <a:latin typeface="Nunito Sans"/>
              </a:rPr>
              <a:t>Transformation team</a:t>
            </a:r>
          </a:p>
          <a:p>
            <a:pPr marL="695325" lvl="1" indent="-342900">
              <a:spcBef>
                <a:spcPts val="600"/>
              </a:spcBef>
              <a:spcAft>
                <a:spcPts val="600"/>
              </a:spcAft>
              <a:buClr>
                <a:srgbClr val="7414DC"/>
              </a:buClr>
              <a:buSzPct val="125000"/>
              <a:buFont typeface="Arial" panose="020B0604020202020204" pitchFamily="34" charset="0"/>
              <a:buChar char="•"/>
            </a:pPr>
            <a:r>
              <a:rPr lang="en-US" sz="1800">
                <a:latin typeface="Nunito Sans"/>
              </a:rPr>
              <a:t>Digital system testers</a:t>
            </a:r>
          </a:p>
          <a:p>
            <a:pPr marL="695325" lvl="1" indent="-342900">
              <a:spcBef>
                <a:spcPts val="600"/>
              </a:spcBef>
              <a:spcAft>
                <a:spcPts val="600"/>
              </a:spcAft>
              <a:buClr>
                <a:srgbClr val="7414DC"/>
              </a:buClr>
              <a:buSzPct val="125000"/>
              <a:buFont typeface="Arial" panose="020B0604020202020204" pitchFamily="34" charset="0"/>
              <a:buChar char="•"/>
            </a:pPr>
            <a:r>
              <a:rPr lang="en-US" sz="1800">
                <a:latin typeface="Nunito Sans"/>
              </a:rPr>
              <a:t>Digital Champions already in your area</a:t>
            </a:r>
          </a:p>
          <a:p>
            <a:pPr marL="695325" lvl="1" indent="-342900">
              <a:spcBef>
                <a:spcPts val="600"/>
              </a:spcBef>
              <a:spcAft>
                <a:spcPts val="600"/>
              </a:spcAft>
              <a:buClr>
                <a:srgbClr val="7414DC"/>
              </a:buClr>
              <a:buSzPct val="125000"/>
              <a:buFont typeface="Arial" panose="020B0604020202020204" pitchFamily="34" charset="0"/>
              <a:buChar char="•"/>
            </a:pPr>
            <a:r>
              <a:rPr lang="en-US" sz="1800">
                <a:latin typeface="Nunito Sans"/>
              </a:rPr>
              <a:t>Trainers</a:t>
            </a:r>
          </a:p>
        </p:txBody>
      </p:sp>
      <p:pic>
        <p:nvPicPr>
          <p:cNvPr id="2" name="Picture 11">
            <a:extLst>
              <a:ext uri="{FF2B5EF4-FFF2-40B4-BE49-F238E27FC236}">
                <a16:creationId xmlns:a16="http://schemas.microsoft.com/office/drawing/2014/main" id="{D8EABF70-E847-DA09-FC10-7674DA26E579}"/>
              </a:ext>
            </a:extLst>
          </p:cNvPr>
          <p:cNvPicPr>
            <a:picLocks noChangeAspect="1"/>
          </p:cNvPicPr>
          <p:nvPr/>
        </p:nvPicPr>
        <p:blipFill rotWithShape="1">
          <a:blip r:embed="rId3"/>
          <a:srcRect r="8863" b="220"/>
          <a:stretch/>
        </p:blipFill>
        <p:spPr>
          <a:xfrm>
            <a:off x="1" y="0"/>
            <a:ext cx="6308034" cy="6858000"/>
          </a:xfrm>
          <a:prstGeom prst="rect">
            <a:avLst/>
          </a:prstGeom>
        </p:spPr>
      </p:pic>
    </p:spTree>
    <p:extLst>
      <p:ext uri="{BB962C8B-B14F-4D97-AF65-F5344CB8AC3E}">
        <p14:creationId xmlns:p14="http://schemas.microsoft.com/office/powerpoint/2010/main" val="14581224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30B88F-CB39-277C-AC2A-193A58B21CEB}"/>
              </a:ext>
            </a:extLst>
          </p:cNvPr>
          <p:cNvSpPr/>
          <p:nvPr/>
        </p:nvSpPr>
        <p:spPr>
          <a:xfrm>
            <a:off x="225921" y="405762"/>
            <a:ext cx="4452096" cy="538609"/>
          </a:xfrm>
          <a:prstGeom prst="rect">
            <a:avLst/>
          </a:prstGeom>
        </p:spPr>
        <p:txBody>
          <a:bodyPr wrap="square" lIns="91440" tIns="45720" rIns="91440" bIns="45720" anchor="t">
            <a:spAutoFit/>
          </a:bodyPr>
          <a:lstStyle/>
          <a:p>
            <a:pPr defTabSz="685800"/>
            <a:r>
              <a:rPr lang="en-GB" sz="2900" b="1">
                <a:solidFill>
                  <a:srgbClr val="7414DC"/>
                </a:solidFill>
                <a:latin typeface="Nunito Sans Black"/>
                <a:ea typeface="Nunito Sans Black" charset="0"/>
                <a:cs typeface="Nunito Sans Black" charset="0"/>
              </a:rPr>
              <a:t>Central Support Model</a:t>
            </a:r>
          </a:p>
        </p:txBody>
      </p:sp>
      <p:graphicFrame>
        <p:nvGraphicFramePr>
          <p:cNvPr id="3" name="Diagram 2">
            <a:extLst>
              <a:ext uri="{FF2B5EF4-FFF2-40B4-BE49-F238E27FC236}">
                <a16:creationId xmlns:a16="http://schemas.microsoft.com/office/drawing/2014/main" id="{33C33DEC-BAC5-4ACE-51FE-7C8422ED7B0F}"/>
              </a:ext>
            </a:extLst>
          </p:cNvPr>
          <p:cNvGraphicFramePr/>
          <p:nvPr/>
        </p:nvGraphicFramePr>
        <p:xfrm>
          <a:off x="409713" y="1123857"/>
          <a:ext cx="11372574"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Arrow: Down 5">
            <a:extLst>
              <a:ext uri="{FF2B5EF4-FFF2-40B4-BE49-F238E27FC236}">
                <a16:creationId xmlns:a16="http://schemas.microsoft.com/office/drawing/2014/main" id="{42246921-C61A-23A2-107F-71F5574ED70A}"/>
              </a:ext>
            </a:extLst>
          </p:cNvPr>
          <p:cNvSpPr/>
          <p:nvPr/>
        </p:nvSpPr>
        <p:spPr>
          <a:xfrm>
            <a:off x="92530" y="1584025"/>
            <a:ext cx="517071" cy="4498329"/>
          </a:xfrm>
          <a:prstGeom prst="downArrow">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en-GB"/>
              <a:t>Escalation</a:t>
            </a:r>
          </a:p>
        </p:txBody>
      </p:sp>
    </p:spTree>
    <p:extLst>
      <p:ext uri="{BB962C8B-B14F-4D97-AF65-F5344CB8AC3E}">
        <p14:creationId xmlns:p14="http://schemas.microsoft.com/office/powerpoint/2010/main" val="17996201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11162966"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POR Update</a:t>
            </a:r>
            <a:endParaRPr lang="en-US">
              <a:latin typeface="Nunito Sans"/>
            </a:endParaRPr>
          </a:p>
        </p:txBody>
      </p:sp>
    </p:spTree>
    <p:extLst>
      <p:ext uri="{BB962C8B-B14F-4D97-AF65-F5344CB8AC3E}">
        <p14:creationId xmlns:p14="http://schemas.microsoft.com/office/powerpoint/2010/main" val="1664979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4FD1763-E64D-4529-0D89-4F515C46659E}"/>
              </a:ext>
            </a:extLst>
          </p:cNvPr>
          <p:cNvSpPr txBox="1"/>
          <p:nvPr/>
        </p:nvSpPr>
        <p:spPr>
          <a:xfrm>
            <a:off x="230648" y="976962"/>
            <a:ext cx="5779200" cy="523220"/>
          </a:xfrm>
          <a:prstGeom prst="rect">
            <a:avLst/>
          </a:prstGeom>
          <a:noFill/>
        </p:spPr>
        <p:txBody>
          <a:bodyPr wrap="square" lIns="91440" tIns="45720" rIns="91440" bIns="45720" anchor="t">
            <a:spAutoFit/>
          </a:bodyPr>
          <a:lstStyle/>
          <a:p>
            <a:pPr marL="64770" marR="0" lvl="0" indent="0" algn="l" defTabSz="685800" rtl="0" eaLnBrk="1" fontAlgn="auto" latinLnBrk="0" hangingPunct="1">
              <a:lnSpc>
                <a:spcPct val="100000"/>
              </a:lnSpc>
              <a:spcBef>
                <a:spcPts val="2145"/>
              </a:spcBef>
              <a:spcAft>
                <a:spcPts val="0"/>
              </a:spcAft>
              <a:buClrTx/>
              <a:buSzTx/>
              <a:buFontTx/>
              <a:buNone/>
              <a:tabLst/>
              <a:defRPr/>
            </a:pPr>
            <a:r>
              <a:rPr kumimoji="0" lang="en-GB" sz="2800" b="1" i="0" u="none" strike="noStrike" kern="1200" cap="none" spc="0" normalizeH="0" baseline="0" noProof="0">
                <a:ln>
                  <a:noFill/>
                </a:ln>
                <a:solidFill>
                  <a:srgbClr val="7413DC"/>
                </a:solidFill>
                <a:effectLst/>
                <a:uLnTx/>
                <a:uFillTx/>
                <a:latin typeface="Nunito Sans Black"/>
                <a:ea typeface="+mn-ea"/>
                <a:cs typeface="Nunito Sans Black"/>
              </a:rPr>
              <a:t>POR</a:t>
            </a:r>
          </a:p>
        </p:txBody>
      </p:sp>
      <p:sp>
        <p:nvSpPr>
          <p:cNvPr id="2" name="TextBox 1">
            <a:extLst>
              <a:ext uri="{FF2B5EF4-FFF2-40B4-BE49-F238E27FC236}">
                <a16:creationId xmlns:a16="http://schemas.microsoft.com/office/drawing/2014/main" id="{C75C9AC6-E8D4-81F8-873B-2AD9102C63CC}"/>
              </a:ext>
            </a:extLst>
          </p:cNvPr>
          <p:cNvSpPr txBox="1"/>
          <p:nvPr/>
        </p:nvSpPr>
        <p:spPr>
          <a:xfrm>
            <a:off x="348980" y="2083148"/>
            <a:ext cx="5423266" cy="2616101"/>
          </a:xfrm>
          <a:prstGeom prst="rect">
            <a:avLst/>
          </a:prstGeom>
          <a:noFill/>
        </p:spPr>
        <p:txBody>
          <a:bodyPr wrap="square" lIns="91440" tIns="45720" rIns="91440" bIns="45720" rtlCol="0" anchor="t">
            <a:spAutoFit/>
          </a:bodyPr>
          <a:lstStyle/>
          <a:p>
            <a:pPr marL="295275" indent="-285750">
              <a:spcBef>
                <a:spcPts val="600"/>
              </a:spcBef>
              <a:spcAft>
                <a:spcPts val="600"/>
              </a:spcAft>
              <a:buClr>
                <a:srgbClr val="7414DC"/>
              </a:buClr>
              <a:buSzPct val="125000"/>
              <a:buFont typeface="Arial" panose="020B0604020202020204" pitchFamily="34" charset="0"/>
              <a:buChar char="•"/>
            </a:pPr>
            <a:r>
              <a:rPr lang="en-GB" sz="2400">
                <a:latin typeface="Nunito Sans"/>
              </a:rPr>
              <a:t>The October edition will now be published in mid-January 2024</a:t>
            </a:r>
          </a:p>
          <a:p>
            <a:pPr marL="295275" indent="-285750">
              <a:spcBef>
                <a:spcPts val="600"/>
              </a:spcBef>
              <a:spcAft>
                <a:spcPts val="600"/>
              </a:spcAft>
              <a:buClr>
                <a:srgbClr val="7414DC"/>
              </a:buClr>
              <a:buSzPct val="125000"/>
              <a:buFont typeface="Arial" panose="020B0604020202020204" pitchFamily="34" charset="0"/>
              <a:buChar char="•"/>
            </a:pPr>
            <a:endParaRPr lang="en-GB" sz="2400">
              <a:latin typeface="Nunito Sans"/>
            </a:endParaRPr>
          </a:p>
          <a:p>
            <a:pPr marL="295275" indent="-285750">
              <a:spcBef>
                <a:spcPts val="600"/>
              </a:spcBef>
              <a:spcAft>
                <a:spcPts val="600"/>
              </a:spcAft>
              <a:buClr>
                <a:srgbClr val="7414DC"/>
              </a:buClr>
              <a:buSzPct val="125000"/>
              <a:buFont typeface="Arial" panose="020B0604020202020204" pitchFamily="34" charset="0"/>
              <a:buChar char="•"/>
            </a:pPr>
            <a:r>
              <a:rPr lang="en-GB" sz="2400">
                <a:latin typeface="Nunito Sans"/>
              </a:rPr>
              <a:t>In mid-November an ‘almost-final-draft’ of the January 2024 edition will be circulated to all CCs and TLs</a:t>
            </a:r>
            <a:endParaRPr lang="en-US" sz="2400" b="1">
              <a:latin typeface="Nunito Sans"/>
            </a:endParaRPr>
          </a:p>
        </p:txBody>
      </p:sp>
      <p:pic>
        <p:nvPicPr>
          <p:cNvPr id="3" name="Picture 2" descr="A person talking to a person&#10;&#10;Description automatically generated with low confidence">
            <a:extLst>
              <a:ext uri="{FF2B5EF4-FFF2-40B4-BE49-F238E27FC236}">
                <a16:creationId xmlns:a16="http://schemas.microsoft.com/office/drawing/2014/main" id="{8BE1641B-C4CB-028A-DDFE-1D310BD6F04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3765" r="16590"/>
          <a:stretch/>
        </p:blipFill>
        <p:spPr>
          <a:xfrm>
            <a:off x="6056416" y="0"/>
            <a:ext cx="6135584" cy="6858000"/>
          </a:xfrm>
          <a:prstGeom prst="rect">
            <a:avLst/>
          </a:prstGeom>
        </p:spPr>
      </p:pic>
    </p:spTree>
    <p:extLst>
      <p:ext uri="{BB962C8B-B14F-4D97-AF65-F5344CB8AC3E}">
        <p14:creationId xmlns:p14="http://schemas.microsoft.com/office/powerpoint/2010/main" val="12337983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11162966"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Tasks for 2023</a:t>
            </a:r>
            <a:endParaRPr lang="en-US">
              <a:latin typeface="Nunito Sans"/>
            </a:endParaRPr>
          </a:p>
        </p:txBody>
      </p:sp>
    </p:spTree>
    <p:extLst>
      <p:ext uri="{BB962C8B-B14F-4D97-AF65-F5344CB8AC3E}">
        <p14:creationId xmlns:p14="http://schemas.microsoft.com/office/powerpoint/2010/main" val="18022239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0EDEDE6-62BF-59AC-D32D-EBA2CA68BE37}"/>
              </a:ext>
            </a:extLst>
          </p:cNvPr>
          <p:cNvSpPr/>
          <p:nvPr/>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Nunito Sans"/>
              <a:ea typeface="+mn-ea"/>
              <a:cs typeface="+mn-cs"/>
            </a:endParaRPr>
          </a:p>
        </p:txBody>
      </p:sp>
      <p:sp>
        <p:nvSpPr>
          <p:cNvPr id="7" name="object 5">
            <a:extLst>
              <a:ext uri="{FF2B5EF4-FFF2-40B4-BE49-F238E27FC236}">
                <a16:creationId xmlns:a16="http://schemas.microsoft.com/office/drawing/2014/main" id="{4DA679D9-28C7-A1B3-F5D5-A9FD12A0CF16}"/>
              </a:ext>
            </a:extLst>
          </p:cNvPr>
          <p:cNvSpPr txBox="1"/>
          <p:nvPr/>
        </p:nvSpPr>
        <p:spPr>
          <a:xfrm>
            <a:off x="6498674" y="2332257"/>
            <a:ext cx="5348030" cy="3177793"/>
          </a:xfrm>
          <a:prstGeom prst="rect">
            <a:avLst/>
          </a:prstGeom>
        </p:spPr>
        <p:txBody>
          <a:bodyPr vert="horz" wrap="square" lIns="0" tIns="0" rIns="0" bIns="0" rtlCol="0" anchor="t">
            <a:spAutoFit/>
          </a:bodyPr>
          <a:lstStyle/>
          <a:p>
            <a:pPr lvl="1" indent="-342900">
              <a:spcBef>
                <a:spcPts val="1500"/>
              </a:spcBef>
              <a:buClr>
                <a:srgbClr val="7414DC"/>
              </a:buClr>
              <a:buSzPct val="100000"/>
              <a:buAutoNum type="arabicPeriod"/>
              <a:tabLst>
                <a:tab pos="523399" algn="l"/>
                <a:tab pos="523875" algn="l"/>
              </a:tabLst>
            </a:pPr>
            <a:r>
              <a:rPr lang="en-GB" sz="2400" b="1">
                <a:solidFill>
                  <a:srgbClr val="7414DC"/>
                </a:solidFill>
                <a:latin typeface="Nunito Sans"/>
                <a:cs typeface="Calibri"/>
              </a:rPr>
              <a:t>System Processes</a:t>
            </a:r>
          </a:p>
          <a:p>
            <a:pPr lvl="1" indent="-342900">
              <a:spcBef>
                <a:spcPts val="1500"/>
              </a:spcBef>
              <a:buClr>
                <a:srgbClr val="7414DC"/>
              </a:buClr>
              <a:buSzPct val="100000"/>
              <a:buAutoNum type="arabicPeriod"/>
              <a:tabLst>
                <a:tab pos="523399" algn="l"/>
                <a:tab pos="523875" algn="l"/>
              </a:tabLst>
            </a:pPr>
            <a:r>
              <a:rPr lang="en-GB" sz="2400" b="1">
                <a:solidFill>
                  <a:srgbClr val="7414DC"/>
                </a:solidFill>
                <a:latin typeface="Nunito Sans"/>
                <a:cs typeface="Calibri"/>
              </a:rPr>
              <a:t>Migration Timeline</a:t>
            </a:r>
          </a:p>
          <a:p>
            <a:pPr lvl="1" indent="-342900">
              <a:spcBef>
                <a:spcPts val="1500"/>
              </a:spcBef>
              <a:buClr>
                <a:srgbClr val="7414DC"/>
              </a:buClr>
              <a:buSzPct val="100000"/>
              <a:buFont typeface="+mj-lt"/>
              <a:buAutoNum type="arabicPeriod" startAt="3"/>
              <a:tabLst>
                <a:tab pos="523399" algn="l"/>
                <a:tab pos="523875" algn="l"/>
              </a:tabLst>
            </a:pPr>
            <a:r>
              <a:rPr lang="en-GB" sz="2400" b="1">
                <a:solidFill>
                  <a:srgbClr val="7414DC"/>
                </a:solidFill>
                <a:latin typeface="Nunito Sans"/>
                <a:cs typeface="Calibri"/>
              </a:rPr>
              <a:t>Go-Live Support</a:t>
            </a:r>
          </a:p>
          <a:p>
            <a:pPr lvl="1" indent="-342900">
              <a:spcBef>
                <a:spcPts val="1500"/>
              </a:spcBef>
              <a:buClr>
                <a:srgbClr val="7414DC"/>
              </a:buClr>
              <a:buSzPct val="100000"/>
              <a:buFont typeface="+mj-lt"/>
              <a:buAutoNum type="arabicPeriod" startAt="3"/>
              <a:tabLst>
                <a:tab pos="523399" algn="l"/>
                <a:tab pos="523875" algn="l"/>
              </a:tabLst>
            </a:pPr>
            <a:r>
              <a:rPr lang="en-GB" sz="2400" b="1">
                <a:solidFill>
                  <a:srgbClr val="7414DC"/>
                </a:solidFill>
                <a:latin typeface="Nunito Sans"/>
                <a:cs typeface="Calibri"/>
              </a:rPr>
              <a:t>Tasks for 2023</a:t>
            </a:r>
          </a:p>
          <a:p>
            <a:pPr lvl="1" indent="-342900">
              <a:spcBef>
                <a:spcPts val="1500"/>
              </a:spcBef>
              <a:buClr>
                <a:srgbClr val="7414DC"/>
              </a:buClr>
              <a:buSzPct val="100000"/>
              <a:buFont typeface="+mj-lt"/>
              <a:buAutoNum type="arabicPeriod" startAt="3"/>
              <a:tabLst>
                <a:tab pos="523399" algn="l"/>
                <a:tab pos="523875" algn="l"/>
              </a:tabLst>
            </a:pPr>
            <a:r>
              <a:rPr lang="en-GB" sz="2400" b="1">
                <a:solidFill>
                  <a:srgbClr val="7414DC"/>
                </a:solidFill>
                <a:latin typeface="Nunito Sans"/>
                <a:cs typeface="Calibri"/>
              </a:rPr>
              <a:t>Early Adopter Update</a:t>
            </a:r>
          </a:p>
          <a:p>
            <a:pPr lvl="1" indent="-342900">
              <a:spcBef>
                <a:spcPts val="1500"/>
              </a:spcBef>
              <a:buClr>
                <a:srgbClr val="7414DC"/>
              </a:buClr>
              <a:buSzPct val="100000"/>
              <a:buFont typeface="+mj-lt"/>
              <a:buAutoNum type="arabicPeriod" startAt="3"/>
              <a:tabLst>
                <a:tab pos="523399" algn="l"/>
                <a:tab pos="523875" algn="l"/>
              </a:tabLst>
            </a:pPr>
            <a:r>
              <a:rPr lang="en-GB" sz="2400" b="1">
                <a:solidFill>
                  <a:srgbClr val="7414DC"/>
                </a:solidFill>
                <a:latin typeface="Nunito Sans"/>
                <a:cs typeface="Calibri"/>
              </a:rPr>
              <a:t>Next Steps</a:t>
            </a:r>
          </a:p>
        </p:txBody>
      </p:sp>
      <p:sp>
        <p:nvSpPr>
          <p:cNvPr id="8" name="TextBox 7">
            <a:extLst>
              <a:ext uri="{FF2B5EF4-FFF2-40B4-BE49-F238E27FC236}">
                <a16:creationId xmlns:a16="http://schemas.microsoft.com/office/drawing/2014/main" id="{EB01AC4D-5059-D568-699E-D21D3E8BC53A}"/>
              </a:ext>
            </a:extLst>
          </p:cNvPr>
          <p:cNvSpPr txBox="1"/>
          <p:nvPr/>
        </p:nvSpPr>
        <p:spPr>
          <a:xfrm>
            <a:off x="6498674" y="988698"/>
            <a:ext cx="4453509" cy="430887"/>
          </a:xfrm>
          <a:prstGeom prst="rect">
            <a:avLst/>
          </a:prstGeom>
          <a:noFill/>
        </p:spPr>
        <p:txBody>
          <a:bodyPr wrap="square" lIns="0" tIns="0" rIns="0" bIns="0" anchor="t">
            <a:spAutoFit/>
          </a:bodyPr>
          <a:lstStyle/>
          <a:p>
            <a:pPr marL="8890" marR="0" lvl="0" indent="0" algn="l" defTabSz="685800" rtl="0" eaLnBrk="1" fontAlgn="auto" latinLnBrk="0" hangingPunct="1">
              <a:lnSpc>
                <a:spcPct val="100000"/>
              </a:lnSpc>
              <a:spcBef>
                <a:spcPts val="1500"/>
              </a:spcBef>
              <a:spcAft>
                <a:spcPts val="0"/>
              </a:spcAft>
              <a:buClr>
                <a:srgbClr val="7030A0"/>
              </a:buClr>
              <a:buSzPct val="140625"/>
              <a:buFontTx/>
              <a:buNone/>
              <a:tabLst>
                <a:tab pos="523399" algn="l"/>
                <a:tab pos="523875" algn="l"/>
              </a:tabLst>
              <a:defRPr/>
            </a:pPr>
            <a:r>
              <a:rPr kumimoji="0" lang="en-GB" sz="2800" b="0" i="0" u="none" strike="noStrike" kern="1200" cap="none" spc="0" normalizeH="0" baseline="0" noProof="0">
                <a:ln>
                  <a:noFill/>
                </a:ln>
                <a:solidFill>
                  <a:srgbClr val="7413DC"/>
                </a:solidFill>
                <a:effectLst/>
                <a:uLnTx/>
                <a:uFillTx/>
                <a:latin typeface="Nunito Sans Black"/>
                <a:ea typeface="+mn-ea"/>
                <a:cs typeface="+mn-cs"/>
              </a:rPr>
              <a:t>What we’ll cover</a:t>
            </a:r>
            <a:endParaRPr kumimoji="0" lang="en-US" sz="2800" b="0" i="0" u="none" strike="noStrike" kern="1200" cap="none" spc="0" normalizeH="0" baseline="0" noProof="0">
              <a:ln>
                <a:noFill/>
              </a:ln>
              <a:solidFill>
                <a:srgbClr val="7413DC"/>
              </a:solidFill>
              <a:effectLst/>
              <a:uLnTx/>
              <a:uFillTx/>
              <a:latin typeface="Nunito Sans Black"/>
              <a:ea typeface="+mn-ea"/>
              <a:cs typeface="Calibri"/>
            </a:endParaRPr>
          </a:p>
        </p:txBody>
      </p:sp>
      <p:pic>
        <p:nvPicPr>
          <p:cNvPr id="9" name="Picture 8">
            <a:extLst>
              <a:ext uri="{FF2B5EF4-FFF2-40B4-BE49-F238E27FC236}">
                <a16:creationId xmlns:a16="http://schemas.microsoft.com/office/drawing/2014/main" id="{7CA8019B-74B8-65D5-5F51-8CC3EAF56F0F}"/>
              </a:ext>
            </a:extLst>
          </p:cNvPr>
          <p:cNvPicPr>
            <a:picLocks noChangeAspect="1"/>
          </p:cNvPicPr>
          <p:nvPr/>
        </p:nvPicPr>
        <p:blipFill rotWithShape="1">
          <a:blip r:embed="rId2">
            <a:extLst>
              <a:ext uri="{28A0092B-C50C-407E-A947-70E740481C1C}">
                <a14:useLocalDpi xmlns:a14="http://schemas.microsoft.com/office/drawing/2010/main" val="0"/>
              </a:ext>
            </a:extLst>
          </a:blip>
          <a:srcRect l="21449" r="21449" b="35521"/>
          <a:stretch/>
        </p:blipFill>
        <p:spPr>
          <a:xfrm>
            <a:off x="-201337" y="892445"/>
            <a:ext cx="6498674" cy="5359268"/>
          </a:xfrm>
          <a:prstGeom prst="rect">
            <a:avLst/>
          </a:prstGeom>
        </p:spPr>
      </p:pic>
    </p:spTree>
    <p:extLst>
      <p:ext uri="{BB962C8B-B14F-4D97-AF65-F5344CB8AC3E}">
        <p14:creationId xmlns:p14="http://schemas.microsoft.com/office/powerpoint/2010/main" val="7954805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6354418" y="1095561"/>
            <a:ext cx="5613626"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Tasks to complete in 2023</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
        <p:nvSpPr>
          <p:cNvPr id="5" name="TextBox 4">
            <a:extLst>
              <a:ext uri="{FF2B5EF4-FFF2-40B4-BE49-F238E27FC236}">
                <a16:creationId xmlns:a16="http://schemas.microsoft.com/office/drawing/2014/main" id="{79811624-8CD6-8AB6-410D-94581A44335A}"/>
              </a:ext>
            </a:extLst>
          </p:cNvPr>
          <p:cNvSpPr txBox="1"/>
          <p:nvPr/>
        </p:nvSpPr>
        <p:spPr>
          <a:xfrm>
            <a:off x="6315357" y="1940245"/>
            <a:ext cx="5691749" cy="4316566"/>
          </a:xfrm>
          <a:prstGeom prst="rect">
            <a:avLst/>
          </a:prstGeom>
          <a:noFill/>
        </p:spPr>
        <p:txBody>
          <a:bodyPr wrap="square" lIns="68580" tIns="34290" rIns="68580" bIns="34290" rtlCol="0" anchor="t">
            <a:spAutoFit/>
          </a:bodyPr>
          <a:lstStyle/>
          <a:p>
            <a:pPr marL="352425" indent="-342900">
              <a:spcBef>
                <a:spcPts val="1200"/>
              </a:spcBef>
              <a:spcAft>
                <a:spcPts val="1200"/>
              </a:spcAft>
              <a:buClr>
                <a:srgbClr val="7414DC"/>
              </a:buClr>
              <a:buSzPct val="125000"/>
              <a:buFont typeface="Arial" panose="020B0604020202020204" pitchFamily="34" charset="0"/>
              <a:buChar char="•"/>
            </a:pPr>
            <a:r>
              <a:rPr lang="en-US" sz="2200" dirty="0">
                <a:latin typeface="Nunito Sans"/>
              </a:rPr>
              <a:t>All volunteers provided with relevant information for them</a:t>
            </a:r>
          </a:p>
          <a:p>
            <a:pPr marL="352425" indent="-342900">
              <a:spcBef>
                <a:spcPts val="1200"/>
              </a:spcBef>
              <a:spcAft>
                <a:spcPts val="1200"/>
              </a:spcAft>
              <a:buClr>
                <a:srgbClr val="7414DC"/>
              </a:buClr>
              <a:buSzPct val="125000"/>
              <a:buFont typeface="Arial" panose="020B0604020202020204" pitchFamily="34" charset="0"/>
              <a:buChar char="•"/>
            </a:pPr>
            <a:r>
              <a:rPr lang="en-US" sz="2200" dirty="0">
                <a:latin typeface="Nunito Sans"/>
              </a:rPr>
              <a:t>County &amp; District team structures agreed</a:t>
            </a:r>
          </a:p>
          <a:p>
            <a:pPr marL="352425" indent="-342900">
              <a:spcBef>
                <a:spcPts val="1200"/>
              </a:spcBef>
              <a:spcAft>
                <a:spcPts val="1200"/>
              </a:spcAft>
              <a:buClr>
                <a:srgbClr val="7414DC"/>
              </a:buClr>
              <a:buSzPct val="125000"/>
              <a:buFont typeface="Arial" panose="020B0604020202020204" pitchFamily="34" charset="0"/>
              <a:buChar char="•"/>
            </a:pPr>
            <a:r>
              <a:rPr lang="en-US" sz="2200" dirty="0">
                <a:latin typeface="Nunito Sans"/>
              </a:rPr>
              <a:t>Use accreditations to plan how you’ll share tasks in your new structures</a:t>
            </a:r>
          </a:p>
          <a:p>
            <a:pPr marL="352425" indent="-342900">
              <a:spcBef>
                <a:spcPts val="1200"/>
              </a:spcBef>
              <a:spcAft>
                <a:spcPts val="1200"/>
              </a:spcAft>
              <a:buClr>
                <a:srgbClr val="7414DC"/>
              </a:buClr>
              <a:buSzPct val="125000"/>
              <a:buFont typeface="Arial" panose="020B0604020202020204" pitchFamily="34" charset="0"/>
              <a:buChar char="•"/>
            </a:pPr>
            <a:r>
              <a:rPr lang="en-US" sz="2200" dirty="0">
                <a:latin typeface="Nunito Sans"/>
              </a:rPr>
              <a:t>Reviewing your local processes</a:t>
            </a:r>
          </a:p>
          <a:p>
            <a:pPr marL="352425" indent="-342900">
              <a:spcBef>
                <a:spcPts val="1200"/>
              </a:spcBef>
              <a:spcAft>
                <a:spcPts val="1200"/>
              </a:spcAft>
              <a:buClr>
                <a:srgbClr val="7414DC"/>
              </a:buClr>
              <a:buSzPct val="125000"/>
              <a:buFont typeface="Arial" panose="020B0604020202020204" pitchFamily="34" charset="0"/>
              <a:buChar char="•"/>
            </a:pPr>
            <a:r>
              <a:rPr lang="en-US" sz="2200" dirty="0">
                <a:latin typeface="Nunito Sans"/>
              </a:rPr>
              <a:t>Compass records up to date</a:t>
            </a:r>
          </a:p>
          <a:p>
            <a:pPr marL="352425" indent="-342900">
              <a:spcBef>
                <a:spcPts val="1200"/>
              </a:spcBef>
              <a:spcAft>
                <a:spcPts val="1200"/>
              </a:spcAft>
              <a:buClr>
                <a:srgbClr val="7414DC"/>
              </a:buClr>
              <a:buSzPct val="125000"/>
              <a:buFont typeface="Arial" panose="020B0604020202020204" pitchFamily="34" charset="0"/>
              <a:buChar char="•"/>
            </a:pPr>
            <a:r>
              <a:rPr lang="en-US" sz="2200" dirty="0">
                <a:latin typeface="Nunito Sans"/>
              </a:rPr>
              <a:t>Full appointments encouraged</a:t>
            </a:r>
          </a:p>
        </p:txBody>
      </p:sp>
      <p:pic>
        <p:nvPicPr>
          <p:cNvPr id="3" name="Picture 2">
            <a:extLst>
              <a:ext uri="{FF2B5EF4-FFF2-40B4-BE49-F238E27FC236}">
                <a16:creationId xmlns:a16="http://schemas.microsoft.com/office/drawing/2014/main" id="{57071813-783E-D9C1-0FA9-51E16C4C23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6096000" cy="6853720"/>
          </a:xfrm>
          <a:prstGeom prst="rect">
            <a:avLst/>
          </a:prstGeom>
        </p:spPr>
      </p:pic>
    </p:spTree>
    <p:extLst>
      <p:ext uri="{BB962C8B-B14F-4D97-AF65-F5344CB8AC3E}">
        <p14:creationId xmlns:p14="http://schemas.microsoft.com/office/powerpoint/2010/main" val="29381387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04683" y="4694209"/>
            <a:ext cx="9529763"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Questions</a:t>
            </a:r>
            <a:endParaRPr lang="en-US"/>
          </a:p>
        </p:txBody>
      </p:sp>
      <p:pic>
        <p:nvPicPr>
          <p:cNvPr id="3" name="Graphic 2" descr="Thought bubble outline">
            <a:extLst>
              <a:ext uri="{FF2B5EF4-FFF2-40B4-BE49-F238E27FC236}">
                <a16:creationId xmlns:a16="http://schemas.microsoft.com/office/drawing/2014/main" id="{CCCB41DA-79BD-0D05-4368-0E61B5A9AD5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87790" y="3429000"/>
            <a:ext cx="2700000" cy="2700000"/>
          </a:xfrm>
          <a:prstGeom prst="rect">
            <a:avLst/>
          </a:prstGeom>
        </p:spPr>
      </p:pic>
      <p:pic>
        <p:nvPicPr>
          <p:cNvPr id="8" name="Graphic 7" descr="Lightbulb and gear outline">
            <a:extLst>
              <a:ext uri="{FF2B5EF4-FFF2-40B4-BE49-F238E27FC236}">
                <a16:creationId xmlns:a16="http://schemas.microsoft.com/office/drawing/2014/main" id="{F561D2E0-CE73-0719-9B77-E9FA5B7C703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38990" y="1030184"/>
            <a:ext cx="2700000" cy="2700000"/>
          </a:xfrm>
          <a:prstGeom prst="rect">
            <a:avLst/>
          </a:prstGeom>
        </p:spPr>
      </p:pic>
      <p:pic>
        <p:nvPicPr>
          <p:cNvPr id="10" name="Graphic 9" descr="Chat bubble outline">
            <a:extLst>
              <a:ext uri="{FF2B5EF4-FFF2-40B4-BE49-F238E27FC236}">
                <a16:creationId xmlns:a16="http://schemas.microsoft.com/office/drawing/2014/main" id="{969CDB01-52C8-EE15-65C3-FDDA999CF71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53011" y="1138510"/>
            <a:ext cx="2700000" cy="2700000"/>
          </a:xfrm>
          <a:prstGeom prst="rect">
            <a:avLst/>
          </a:prstGeom>
        </p:spPr>
      </p:pic>
    </p:spTree>
    <p:extLst>
      <p:ext uri="{BB962C8B-B14F-4D97-AF65-F5344CB8AC3E}">
        <p14:creationId xmlns:p14="http://schemas.microsoft.com/office/powerpoint/2010/main" val="888766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9529763"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Early Adopter Update</a:t>
            </a:r>
            <a:endParaRPr lang="en-US">
              <a:latin typeface="Nunito Sans"/>
            </a:endParaRPr>
          </a:p>
        </p:txBody>
      </p:sp>
      <p:pic>
        <p:nvPicPr>
          <p:cNvPr id="20" name="Graphic 19" descr="Customer review outline">
            <a:extLst>
              <a:ext uri="{FF2B5EF4-FFF2-40B4-BE49-F238E27FC236}">
                <a16:creationId xmlns:a16="http://schemas.microsoft.com/office/drawing/2014/main" id="{0B06F792-571E-F914-DD3C-F1A9095CB9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96000" y="1144153"/>
            <a:ext cx="2700000" cy="2700000"/>
          </a:xfrm>
          <a:prstGeom prst="rect">
            <a:avLst/>
          </a:prstGeom>
        </p:spPr>
      </p:pic>
      <p:pic>
        <p:nvPicPr>
          <p:cNvPr id="5" name="Graphic 4" descr="Flip calendar outline">
            <a:extLst>
              <a:ext uri="{FF2B5EF4-FFF2-40B4-BE49-F238E27FC236}">
                <a16:creationId xmlns:a16="http://schemas.microsoft.com/office/drawing/2014/main" id="{FAA60B00-3647-566B-DBC3-A5F26A9189C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45680" y="3636257"/>
            <a:ext cx="2607874" cy="2684987"/>
          </a:xfrm>
          <a:prstGeom prst="rect">
            <a:avLst/>
          </a:prstGeom>
        </p:spPr>
      </p:pic>
    </p:spTree>
    <p:extLst>
      <p:ext uri="{BB962C8B-B14F-4D97-AF65-F5344CB8AC3E}">
        <p14:creationId xmlns:p14="http://schemas.microsoft.com/office/powerpoint/2010/main" val="29080733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266028" y="677193"/>
            <a:ext cx="5876355" cy="736740"/>
          </a:xfrm>
          <a:prstGeom prst="rect">
            <a:avLst/>
          </a:prstGeom>
        </p:spPr>
        <p:txBody>
          <a:bodyPr vert="horz" wrap="square" lIns="0" tIns="272415" rIns="0" bIns="0" rtlCol="0" anchor="t">
            <a:spAutoFit/>
          </a:bodyPr>
          <a:lstStyle/>
          <a:p>
            <a:pPr marL="0" lvl="1" defTabSz="685784"/>
            <a:r>
              <a:rPr lang="en-GB" sz="3000" kern="0">
                <a:solidFill>
                  <a:srgbClr val="7413DC"/>
                </a:solidFill>
                <a:latin typeface="Nunito Sans Black"/>
                <a:cs typeface="Calibri"/>
              </a:rPr>
              <a:t>Early Adopter Update</a:t>
            </a:r>
            <a:endParaRPr lang="en-US"/>
          </a:p>
        </p:txBody>
      </p:sp>
      <p:pic>
        <p:nvPicPr>
          <p:cNvPr id="3" name="Picture 2" descr="two-cubs-leaping-into-water-jpg.jpg"/>
          <p:cNvPicPr>
            <a:picLocks noChangeAspect="1"/>
          </p:cNvPicPr>
          <p:nvPr/>
        </p:nvPicPr>
        <p:blipFill rotWithShape="1">
          <a:blip r:embed="rId3"/>
          <a:srcRect l="39653" r="4927"/>
          <a:stretch/>
        </p:blipFill>
        <p:spPr>
          <a:xfrm>
            <a:off x="6523273" y="-6090"/>
            <a:ext cx="5668727" cy="6864090"/>
          </a:xfrm>
          <a:prstGeom prst="rect">
            <a:avLst/>
          </a:prstGeom>
        </p:spPr>
      </p:pic>
      <p:sp>
        <p:nvSpPr>
          <p:cNvPr id="5" name="TextBox 4">
            <a:extLst>
              <a:ext uri="{FF2B5EF4-FFF2-40B4-BE49-F238E27FC236}">
                <a16:creationId xmlns:a16="http://schemas.microsoft.com/office/drawing/2014/main" id="{95437EAD-B146-FDEF-5298-B2D3A005AC69}"/>
              </a:ext>
            </a:extLst>
          </p:cNvPr>
          <p:cNvSpPr txBox="1"/>
          <p:nvPr/>
        </p:nvSpPr>
        <p:spPr>
          <a:xfrm>
            <a:off x="266028" y="2813564"/>
            <a:ext cx="6035381" cy="2223686"/>
          </a:xfrm>
          <a:prstGeom prst="rect">
            <a:avLst/>
          </a:prstGeom>
          <a:noFill/>
        </p:spPr>
        <p:txBody>
          <a:bodyPr wrap="square" lIns="68580" tIns="34290" rIns="68580" bIns="34290" rtlCol="0" anchor="ctr">
            <a:spAutoFit/>
          </a:bodyPr>
          <a:lstStyle/>
          <a:p>
            <a:pPr marL="356870" indent="-347345">
              <a:spcBef>
                <a:spcPts val="600"/>
              </a:spcBef>
              <a:spcAft>
                <a:spcPts val="600"/>
              </a:spcAft>
              <a:buClr>
                <a:srgbClr val="7414DC"/>
              </a:buClr>
              <a:buSzPct val="125000"/>
              <a:buFont typeface="Arial" panose="020B0604020202020204" pitchFamily="34" charset="0"/>
              <a:buChar char="•"/>
            </a:pPr>
            <a:r>
              <a:rPr lang="en-GB" sz="2400">
                <a:latin typeface="Nunito Sans"/>
              </a:rPr>
              <a:t>Early Adopters going live in February 2024</a:t>
            </a:r>
          </a:p>
          <a:p>
            <a:pPr marL="356870" indent="-347345">
              <a:spcBef>
                <a:spcPts val="600"/>
              </a:spcBef>
              <a:spcAft>
                <a:spcPts val="600"/>
              </a:spcAft>
              <a:buClr>
                <a:srgbClr val="7414DC"/>
              </a:buClr>
              <a:buSzPct val="125000"/>
              <a:buFont typeface="Arial" panose="020B0604020202020204" pitchFamily="34" charset="0"/>
              <a:buChar char="•"/>
            </a:pPr>
            <a:r>
              <a:rPr lang="en-GB" sz="2400">
                <a:latin typeface="Nunito Sans"/>
              </a:rPr>
              <a:t>EA event in January 2024</a:t>
            </a:r>
          </a:p>
          <a:p>
            <a:pPr marL="356870" indent="-347345">
              <a:spcBef>
                <a:spcPts val="600"/>
              </a:spcBef>
              <a:spcAft>
                <a:spcPts val="600"/>
              </a:spcAft>
              <a:buClr>
                <a:srgbClr val="7414DC"/>
              </a:buClr>
              <a:buSzPct val="125000"/>
              <a:buFont typeface="Arial" panose="020B0604020202020204" pitchFamily="34" charset="0"/>
              <a:buChar char="•"/>
            </a:pPr>
            <a:r>
              <a:rPr lang="en-GB" sz="2400">
                <a:latin typeface="Nunito Sans"/>
              </a:rPr>
              <a:t>Exploring how best to deliver guides and videos for the new systems</a:t>
            </a:r>
          </a:p>
        </p:txBody>
      </p:sp>
    </p:spTree>
    <p:extLst>
      <p:ext uri="{BB962C8B-B14F-4D97-AF65-F5344CB8AC3E}">
        <p14:creationId xmlns:p14="http://schemas.microsoft.com/office/powerpoint/2010/main" val="4814242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9529763"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Next Steps</a:t>
            </a:r>
            <a:endParaRPr lang="en-US"/>
          </a:p>
        </p:txBody>
      </p:sp>
      <p:pic>
        <p:nvPicPr>
          <p:cNvPr id="3" name="Graphic 2" descr="Business Growth outline">
            <a:extLst>
              <a:ext uri="{FF2B5EF4-FFF2-40B4-BE49-F238E27FC236}">
                <a16:creationId xmlns:a16="http://schemas.microsoft.com/office/drawing/2014/main" id="{98C9BE0E-C6B0-4532-6FF0-4B3ACFE566D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27684" y="1411051"/>
            <a:ext cx="2700000" cy="2700000"/>
          </a:xfrm>
          <a:prstGeom prst="rect">
            <a:avLst/>
          </a:prstGeom>
        </p:spPr>
      </p:pic>
      <p:pic>
        <p:nvPicPr>
          <p:cNvPr id="12" name="Graphic 11" descr="Aspiration outline">
            <a:extLst>
              <a:ext uri="{FF2B5EF4-FFF2-40B4-BE49-F238E27FC236}">
                <a16:creationId xmlns:a16="http://schemas.microsoft.com/office/drawing/2014/main" id="{B4D33C0C-DA3C-2397-9760-6CE3E0E7CD3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44590" y="3263226"/>
            <a:ext cx="2700000" cy="2700000"/>
          </a:xfrm>
          <a:prstGeom prst="rect">
            <a:avLst/>
          </a:prstGeom>
        </p:spPr>
      </p:pic>
    </p:spTree>
    <p:extLst>
      <p:ext uri="{BB962C8B-B14F-4D97-AF65-F5344CB8AC3E}">
        <p14:creationId xmlns:p14="http://schemas.microsoft.com/office/powerpoint/2010/main" val="8812611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B73DD310-DB68-14A5-DBE5-92BC40AFF9F0}"/>
              </a:ext>
            </a:extLst>
          </p:cNvPr>
          <p:cNvSpPr txBox="1"/>
          <p:nvPr/>
        </p:nvSpPr>
        <p:spPr>
          <a:xfrm>
            <a:off x="6848822" y="1967351"/>
            <a:ext cx="4812208" cy="4093428"/>
          </a:xfrm>
          <a:prstGeom prst="rect">
            <a:avLst/>
          </a:prstGeom>
        </p:spPr>
        <p:txBody>
          <a:bodyPr vert="horz" wrap="square" lIns="0" tIns="0" rIns="0" bIns="0" rtlCol="0" anchor="ctr">
            <a:spAutoFit/>
          </a:bodyPr>
          <a:lstStyle/>
          <a:p>
            <a:pPr marL="285750" lvl="1" indent="-285750">
              <a:spcBef>
                <a:spcPts val="1500"/>
              </a:spcBef>
              <a:buClr>
                <a:srgbClr val="7414DC"/>
              </a:buClr>
              <a:buSzPct val="125000"/>
              <a:buFont typeface="Arial" panose="020B0604020202020204" pitchFamily="34" charset="0"/>
              <a:buChar char="•"/>
              <a:tabLst>
                <a:tab pos="523399" algn="l"/>
                <a:tab pos="523875" algn="l"/>
              </a:tabLst>
            </a:pPr>
            <a:r>
              <a:rPr lang="en-GB" sz="2400" dirty="0">
                <a:latin typeface="Nunito Sans"/>
                <a:cs typeface="Calibri"/>
              </a:rPr>
              <a:t>Utilise the readiness checklist in your area</a:t>
            </a:r>
          </a:p>
          <a:p>
            <a:pPr marL="285750" lvl="1" indent="-285750">
              <a:spcBef>
                <a:spcPts val="1500"/>
              </a:spcBef>
              <a:buClr>
                <a:srgbClr val="7414DC"/>
              </a:buClr>
              <a:buSzPct val="125000"/>
              <a:buFont typeface="Arial" panose="020B0604020202020204" pitchFamily="34" charset="0"/>
              <a:buChar char="•"/>
              <a:tabLst>
                <a:tab pos="523399" algn="l"/>
                <a:tab pos="523875" algn="l"/>
              </a:tabLst>
            </a:pPr>
            <a:r>
              <a:rPr lang="en-GB" sz="2400" dirty="0">
                <a:latin typeface="Nunito Sans"/>
                <a:cs typeface="Calibri"/>
              </a:rPr>
              <a:t>Review your local processes</a:t>
            </a:r>
          </a:p>
          <a:p>
            <a:pPr marL="285750" lvl="1" indent="-285750">
              <a:spcBef>
                <a:spcPts val="1500"/>
              </a:spcBef>
              <a:buClr>
                <a:srgbClr val="7414DC"/>
              </a:buClr>
              <a:buSzPct val="125000"/>
              <a:buFont typeface="Arial" panose="020B0604020202020204" pitchFamily="34" charset="0"/>
              <a:buChar char="•"/>
              <a:tabLst>
                <a:tab pos="523399" algn="l"/>
                <a:tab pos="523875" algn="l"/>
              </a:tabLst>
            </a:pPr>
            <a:r>
              <a:rPr lang="en-GB" sz="2400" dirty="0">
                <a:latin typeface="Nunito Sans"/>
                <a:cs typeface="Calibri"/>
              </a:rPr>
              <a:t>Build your local support model</a:t>
            </a:r>
          </a:p>
          <a:p>
            <a:pPr marL="285750" lvl="1" indent="-285750">
              <a:spcBef>
                <a:spcPts val="1500"/>
              </a:spcBef>
              <a:buClr>
                <a:srgbClr val="7414DC"/>
              </a:buClr>
              <a:buSzPct val="125000"/>
              <a:buFont typeface="Arial" panose="020B0604020202020204" pitchFamily="34" charset="0"/>
              <a:buChar char="•"/>
              <a:tabLst>
                <a:tab pos="523399" algn="l"/>
                <a:tab pos="523875" algn="l"/>
              </a:tabLst>
            </a:pPr>
            <a:r>
              <a:rPr lang="en-GB" sz="2400" dirty="0">
                <a:latin typeface="Nunito Sans"/>
                <a:cs typeface="Calibri"/>
              </a:rPr>
              <a:t>Sign up to support building new resources for Volunteering Development Teams</a:t>
            </a:r>
          </a:p>
          <a:p>
            <a:pPr marL="285750" lvl="1" indent="-285750">
              <a:spcBef>
                <a:spcPts val="1500"/>
              </a:spcBef>
              <a:buClr>
                <a:srgbClr val="7414DC"/>
              </a:buClr>
              <a:buSzPct val="125000"/>
              <a:buFont typeface="Arial" panose="020B0604020202020204" pitchFamily="34" charset="0"/>
              <a:buChar char="•"/>
              <a:tabLst>
                <a:tab pos="523399" algn="l"/>
                <a:tab pos="523875" algn="l"/>
              </a:tabLst>
            </a:pPr>
            <a:r>
              <a:rPr lang="en-GB" sz="2400" dirty="0">
                <a:latin typeface="Nunito Sans"/>
                <a:cs typeface="Calibri"/>
              </a:rPr>
              <a:t>Respond to the Change Readiness Survey</a:t>
            </a:r>
          </a:p>
        </p:txBody>
      </p:sp>
      <p:sp>
        <p:nvSpPr>
          <p:cNvPr id="6" name="TextBox 5">
            <a:extLst>
              <a:ext uri="{FF2B5EF4-FFF2-40B4-BE49-F238E27FC236}">
                <a16:creationId xmlns:a16="http://schemas.microsoft.com/office/drawing/2014/main" id="{41E59FF2-C726-488B-BBCC-68D8F603E4E6}"/>
              </a:ext>
            </a:extLst>
          </p:cNvPr>
          <p:cNvSpPr txBox="1"/>
          <p:nvPr/>
        </p:nvSpPr>
        <p:spPr>
          <a:xfrm>
            <a:off x="6857222" y="1117459"/>
            <a:ext cx="4296151" cy="430887"/>
          </a:xfrm>
          <a:prstGeom prst="rect">
            <a:avLst/>
          </a:prstGeom>
          <a:noFill/>
        </p:spPr>
        <p:txBody>
          <a:bodyPr wrap="square" lIns="0" tIns="0" rIns="0" bIns="0" anchor="t">
            <a:spAutoFit/>
          </a:bodyPr>
          <a:lstStyle/>
          <a:p>
            <a:pPr marL="8890">
              <a:spcBef>
                <a:spcPts val="1500"/>
              </a:spcBef>
              <a:buClr>
                <a:srgbClr val="7030A0"/>
              </a:buClr>
              <a:buSzPct val="140625"/>
              <a:tabLst>
                <a:tab pos="523399" algn="l"/>
                <a:tab pos="523875" algn="l"/>
              </a:tabLst>
            </a:pPr>
            <a:r>
              <a:rPr lang="en-GB" sz="2800">
                <a:solidFill>
                  <a:srgbClr val="7413DC"/>
                </a:solidFill>
                <a:latin typeface="Nunito Sans Black"/>
              </a:rPr>
              <a:t>What you can do:</a:t>
            </a:r>
            <a:endParaRPr lang="en-US" sz="2800">
              <a:solidFill>
                <a:srgbClr val="7413DC"/>
              </a:solidFill>
              <a:latin typeface="Nunito Sans Black"/>
              <a:cs typeface="Calibri"/>
            </a:endParaRPr>
          </a:p>
        </p:txBody>
      </p:sp>
      <p:sp>
        <p:nvSpPr>
          <p:cNvPr id="2" name="object 5">
            <a:extLst>
              <a:ext uri="{FF2B5EF4-FFF2-40B4-BE49-F238E27FC236}">
                <a16:creationId xmlns:a16="http://schemas.microsoft.com/office/drawing/2014/main" id="{17EF3307-79D3-F146-FFE9-B8D4BBDB1EDE}"/>
              </a:ext>
            </a:extLst>
          </p:cNvPr>
          <p:cNvSpPr txBox="1"/>
          <p:nvPr/>
        </p:nvSpPr>
        <p:spPr>
          <a:xfrm>
            <a:off x="530970" y="2034207"/>
            <a:ext cx="4812208" cy="3959716"/>
          </a:xfrm>
          <a:prstGeom prst="rect">
            <a:avLst/>
          </a:prstGeom>
        </p:spPr>
        <p:txBody>
          <a:bodyPr vert="horz" wrap="square" lIns="0" tIns="0" rIns="0" bIns="0" rtlCol="0" anchor="ctr">
            <a:noAutofit/>
          </a:bodyPr>
          <a:lstStyle/>
          <a:p>
            <a:pPr lvl="1" indent="-342900">
              <a:spcBef>
                <a:spcPts val="1200"/>
              </a:spcBef>
              <a:buClr>
                <a:srgbClr val="7414DC"/>
              </a:buClr>
              <a:buSzPct val="125000"/>
              <a:buFont typeface="Arial" panose="020B0604020202020204" pitchFamily="34" charset="0"/>
              <a:buChar char="•"/>
              <a:tabLst>
                <a:tab pos="523399" algn="l"/>
                <a:tab pos="523875" algn="l"/>
              </a:tabLst>
            </a:pPr>
            <a:r>
              <a:rPr lang="en-GB" sz="2000" dirty="0">
                <a:latin typeface="Nunito Sans"/>
                <a:cs typeface="Calibri"/>
              </a:rPr>
              <a:t>Dates for Trustee webinars </a:t>
            </a:r>
            <a:br>
              <a:rPr lang="en-GB" sz="2000" dirty="0">
                <a:latin typeface="Nunito Sans"/>
                <a:cs typeface="Calibri"/>
              </a:rPr>
            </a:br>
            <a:r>
              <a:rPr lang="en-GB" sz="1600" dirty="0">
                <a:latin typeface="Nunito Sans"/>
                <a:cs typeface="Calibri"/>
              </a:rPr>
              <a:t>(for all Chairs &amp; Lead Volunteers)</a:t>
            </a:r>
          </a:p>
          <a:p>
            <a:pPr lvl="2" indent="-342900">
              <a:spcBef>
                <a:spcPts val="1200"/>
              </a:spcBef>
              <a:buClr>
                <a:srgbClr val="7414DC"/>
              </a:buClr>
              <a:buSzPct val="125000"/>
              <a:buFont typeface="Arial" panose="020B0604020202020204" pitchFamily="34" charset="0"/>
              <a:buChar char="•"/>
              <a:tabLst>
                <a:tab pos="523399" algn="l"/>
                <a:tab pos="523875" algn="l"/>
              </a:tabLst>
            </a:pPr>
            <a:r>
              <a:rPr lang="en-GB" sz="1800">
                <a:latin typeface="Nunito Sans"/>
                <a:cs typeface="Calibri"/>
              </a:rPr>
              <a:t>20</a:t>
            </a:r>
            <a:r>
              <a:rPr lang="en-GB" sz="1800" dirty="0">
                <a:latin typeface="Nunito Sans"/>
                <a:cs typeface="Calibri"/>
              </a:rPr>
              <a:t> November</a:t>
            </a:r>
          </a:p>
          <a:p>
            <a:pPr lvl="2" indent="-342900">
              <a:spcBef>
                <a:spcPts val="1200"/>
              </a:spcBef>
              <a:buClr>
                <a:srgbClr val="7414DC"/>
              </a:buClr>
              <a:buSzPct val="125000"/>
              <a:buFont typeface="Arial" panose="020B0604020202020204" pitchFamily="34" charset="0"/>
              <a:buChar char="•"/>
              <a:tabLst>
                <a:tab pos="523399" algn="l"/>
                <a:tab pos="523875" algn="l"/>
              </a:tabLst>
            </a:pPr>
            <a:r>
              <a:rPr lang="en-GB" sz="1800">
                <a:latin typeface="Nunito Sans"/>
                <a:cs typeface="Calibri"/>
              </a:rPr>
              <a:t>23 </a:t>
            </a:r>
            <a:r>
              <a:rPr lang="en-GB" sz="1800" dirty="0">
                <a:latin typeface="Nunito Sans"/>
                <a:cs typeface="Calibri"/>
              </a:rPr>
              <a:t>November</a:t>
            </a:r>
          </a:p>
          <a:p>
            <a:pPr lvl="1" indent="-342900">
              <a:spcBef>
                <a:spcPts val="1200"/>
              </a:spcBef>
              <a:buClr>
                <a:srgbClr val="7414DC"/>
              </a:buClr>
              <a:buSzPct val="125000"/>
              <a:buFont typeface="Arial" panose="020B0604020202020204" pitchFamily="34" charset="0"/>
              <a:buChar char="•"/>
              <a:tabLst>
                <a:tab pos="523399" algn="l"/>
                <a:tab pos="523875" algn="l"/>
              </a:tabLst>
            </a:pPr>
            <a:r>
              <a:rPr lang="en-GB" sz="2000" dirty="0">
                <a:latin typeface="Nunito Sans"/>
                <a:cs typeface="Calibri"/>
              </a:rPr>
              <a:t>Developing Trustee resources ready for sharing at the end of November</a:t>
            </a:r>
          </a:p>
          <a:p>
            <a:pPr lvl="1" indent="-342900">
              <a:spcBef>
                <a:spcPts val="1200"/>
              </a:spcBef>
              <a:buClr>
                <a:srgbClr val="7414DC"/>
              </a:buClr>
              <a:buSzPct val="125000"/>
              <a:buFont typeface="Arial" panose="020B0604020202020204" pitchFamily="34" charset="0"/>
              <a:buChar char="•"/>
              <a:tabLst>
                <a:tab pos="523399" algn="l"/>
                <a:tab pos="523875" algn="l"/>
              </a:tabLst>
            </a:pPr>
            <a:r>
              <a:rPr lang="en-GB" sz="2000" dirty="0">
                <a:latin typeface="Nunito Sans"/>
                <a:cs typeface="Calibri"/>
              </a:rPr>
              <a:t>Developing resources for building Volunteering Development Teams</a:t>
            </a:r>
          </a:p>
          <a:p>
            <a:pPr lvl="1" indent="-342900">
              <a:spcBef>
                <a:spcPts val="1200"/>
              </a:spcBef>
              <a:buClr>
                <a:srgbClr val="7414DC"/>
              </a:buClr>
              <a:buSzPct val="125000"/>
              <a:buFont typeface="Arial" panose="020B0604020202020204" pitchFamily="34" charset="0"/>
              <a:buChar char="•"/>
              <a:tabLst>
                <a:tab pos="523399" algn="l"/>
                <a:tab pos="523875" algn="l"/>
              </a:tabLst>
            </a:pPr>
            <a:r>
              <a:rPr lang="en-GB" sz="2000" dirty="0">
                <a:latin typeface="Nunito Sans"/>
                <a:cs typeface="Calibri"/>
              </a:rPr>
              <a:t>Sharing confirmed first aid and learning changes information with CTMs and equivalents - </a:t>
            </a:r>
            <a:r>
              <a:rPr lang="en-GB" sz="2000">
                <a:latin typeface="Nunito Sans"/>
                <a:cs typeface="Calibri"/>
              </a:rPr>
              <a:t>9</a:t>
            </a:r>
            <a:r>
              <a:rPr lang="en-GB" sz="2000" dirty="0">
                <a:latin typeface="Nunito Sans"/>
                <a:cs typeface="Calibri"/>
              </a:rPr>
              <a:t> November</a:t>
            </a:r>
          </a:p>
        </p:txBody>
      </p:sp>
      <p:sp>
        <p:nvSpPr>
          <p:cNvPr id="3" name="TextBox 2">
            <a:extLst>
              <a:ext uri="{FF2B5EF4-FFF2-40B4-BE49-F238E27FC236}">
                <a16:creationId xmlns:a16="http://schemas.microsoft.com/office/drawing/2014/main" id="{F38B47F2-F930-4630-7393-7CC6B562A410}"/>
              </a:ext>
            </a:extLst>
          </p:cNvPr>
          <p:cNvSpPr txBox="1"/>
          <p:nvPr/>
        </p:nvSpPr>
        <p:spPr>
          <a:xfrm>
            <a:off x="522571" y="1117459"/>
            <a:ext cx="4812208" cy="430887"/>
          </a:xfrm>
          <a:prstGeom prst="rect">
            <a:avLst/>
          </a:prstGeom>
          <a:noFill/>
        </p:spPr>
        <p:txBody>
          <a:bodyPr wrap="square" lIns="0" tIns="0" rIns="0" bIns="0" anchor="t">
            <a:spAutoFit/>
          </a:bodyPr>
          <a:lstStyle/>
          <a:p>
            <a:pPr marL="8890">
              <a:spcBef>
                <a:spcPts val="1500"/>
              </a:spcBef>
              <a:buClr>
                <a:srgbClr val="7030A0"/>
              </a:buClr>
              <a:buSzPct val="140625"/>
              <a:tabLst>
                <a:tab pos="523399" algn="l"/>
                <a:tab pos="523875" algn="l"/>
              </a:tabLst>
            </a:pPr>
            <a:r>
              <a:rPr lang="en-GB" sz="2800">
                <a:solidFill>
                  <a:srgbClr val="7413DC"/>
                </a:solidFill>
                <a:latin typeface="Nunito Sans Black"/>
              </a:rPr>
              <a:t>What we’re doing:</a:t>
            </a:r>
            <a:endParaRPr lang="en-US" sz="2800">
              <a:solidFill>
                <a:srgbClr val="7413DC"/>
              </a:solidFill>
              <a:latin typeface="Nunito Sans Black"/>
              <a:cs typeface="Calibri"/>
            </a:endParaRPr>
          </a:p>
        </p:txBody>
      </p:sp>
      <p:cxnSp>
        <p:nvCxnSpPr>
          <p:cNvPr id="8" name="Straight Connector 7">
            <a:extLst>
              <a:ext uri="{FF2B5EF4-FFF2-40B4-BE49-F238E27FC236}">
                <a16:creationId xmlns:a16="http://schemas.microsoft.com/office/drawing/2014/main" id="{DA8C34C0-C0C7-99D7-261F-D4AF388DCA7A}"/>
              </a:ext>
            </a:extLst>
          </p:cNvPr>
          <p:cNvCxnSpPr>
            <a:cxnSpLocks/>
          </p:cNvCxnSpPr>
          <p:nvPr/>
        </p:nvCxnSpPr>
        <p:spPr>
          <a:xfrm>
            <a:off x="6096000" y="0"/>
            <a:ext cx="0" cy="6858000"/>
          </a:xfrm>
          <a:prstGeom prst="line">
            <a:avLst/>
          </a:prstGeom>
          <a:ln w="12700">
            <a:solidFill>
              <a:srgbClr val="7414DC"/>
            </a:solidFill>
            <a:prstDash val="solid"/>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6198156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7FF6106-33DE-FE7B-557C-BB31090F30EA}"/>
              </a:ext>
            </a:extLst>
          </p:cNvPr>
          <p:cNvSpPr txBox="1">
            <a:spLocks/>
          </p:cNvSpPr>
          <p:nvPr/>
        </p:nvSpPr>
        <p:spPr>
          <a:xfrm>
            <a:off x="752809" y="4341458"/>
            <a:ext cx="9529763"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Thank You</a:t>
            </a:r>
            <a:endParaRPr lang="en-US"/>
          </a:p>
        </p:txBody>
      </p:sp>
    </p:spTree>
    <p:extLst>
      <p:ext uri="{BB962C8B-B14F-4D97-AF65-F5344CB8AC3E}">
        <p14:creationId xmlns:p14="http://schemas.microsoft.com/office/powerpoint/2010/main" val="1457950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61011A3-D0FD-A7FF-8438-BC1CB4D25536}"/>
              </a:ext>
            </a:extLst>
          </p:cNvPr>
          <p:cNvGrpSpPr/>
          <p:nvPr/>
        </p:nvGrpSpPr>
        <p:grpSpPr>
          <a:xfrm>
            <a:off x="5923352" y="0"/>
            <a:ext cx="6498674" cy="6858000"/>
            <a:chOff x="-201337" y="0"/>
            <a:chExt cx="6498674" cy="6858000"/>
          </a:xfrm>
        </p:grpSpPr>
        <p:sp>
          <p:nvSpPr>
            <p:cNvPr id="6" name="Rectangle 5">
              <a:extLst>
                <a:ext uri="{FF2B5EF4-FFF2-40B4-BE49-F238E27FC236}">
                  <a16:creationId xmlns:a16="http://schemas.microsoft.com/office/drawing/2014/main" id="{80EDEDE6-62BF-59AC-D32D-EBA2CA68BE37}"/>
                </a:ext>
              </a:extLst>
            </p:cNvPr>
            <p:cNvSpPr/>
            <p:nvPr/>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Nunito Sans"/>
                <a:ea typeface="+mn-ea"/>
                <a:cs typeface="+mn-cs"/>
              </a:endParaRPr>
            </a:p>
          </p:txBody>
        </p:sp>
        <p:pic>
          <p:nvPicPr>
            <p:cNvPr id="9" name="Picture 8">
              <a:extLst>
                <a:ext uri="{FF2B5EF4-FFF2-40B4-BE49-F238E27FC236}">
                  <a16:creationId xmlns:a16="http://schemas.microsoft.com/office/drawing/2014/main" id="{7CA8019B-74B8-65D5-5F51-8CC3EAF56F0F}"/>
                </a:ext>
              </a:extLst>
            </p:cNvPr>
            <p:cNvPicPr>
              <a:picLocks noChangeAspect="1"/>
            </p:cNvPicPr>
            <p:nvPr/>
          </p:nvPicPr>
          <p:blipFill rotWithShape="1">
            <a:blip r:embed="rId2">
              <a:extLst>
                <a:ext uri="{28A0092B-C50C-407E-A947-70E740481C1C}">
                  <a14:useLocalDpi xmlns:a14="http://schemas.microsoft.com/office/drawing/2010/main" val="0"/>
                </a:ext>
              </a:extLst>
            </a:blip>
            <a:srcRect l="21449" r="21449" b="35521"/>
            <a:stretch/>
          </p:blipFill>
          <p:spPr>
            <a:xfrm>
              <a:off x="-201337" y="892445"/>
              <a:ext cx="6498674" cy="5359268"/>
            </a:xfrm>
            <a:prstGeom prst="rect">
              <a:avLst/>
            </a:prstGeom>
          </p:spPr>
        </p:pic>
      </p:grpSp>
      <p:sp>
        <p:nvSpPr>
          <p:cNvPr id="7" name="object 5">
            <a:extLst>
              <a:ext uri="{FF2B5EF4-FFF2-40B4-BE49-F238E27FC236}">
                <a16:creationId xmlns:a16="http://schemas.microsoft.com/office/drawing/2014/main" id="{4DA679D9-28C7-A1B3-F5D5-A9FD12A0CF16}"/>
              </a:ext>
            </a:extLst>
          </p:cNvPr>
          <p:cNvSpPr txBox="1"/>
          <p:nvPr/>
        </p:nvSpPr>
        <p:spPr>
          <a:xfrm>
            <a:off x="309898" y="2630430"/>
            <a:ext cx="5348030" cy="3177793"/>
          </a:xfrm>
          <a:prstGeom prst="rect">
            <a:avLst/>
          </a:prstGeom>
        </p:spPr>
        <p:txBody>
          <a:bodyPr vert="horz" wrap="square" lIns="0" tIns="0" rIns="0" bIns="0" rtlCol="0" anchor="t">
            <a:spAutoFit/>
          </a:bodyPr>
          <a:lstStyle/>
          <a:p>
            <a:pPr lvl="1" indent="-342900">
              <a:spcBef>
                <a:spcPts val="1500"/>
              </a:spcBef>
              <a:buClr>
                <a:srgbClr val="7414DC"/>
              </a:buClr>
              <a:buSzPct val="100000"/>
              <a:buFont typeface="Arial" panose="020B0604020202020204" pitchFamily="34" charset="0"/>
              <a:buChar char="•"/>
              <a:tabLst>
                <a:tab pos="523399" algn="l"/>
                <a:tab pos="523875" algn="l"/>
              </a:tabLst>
            </a:pPr>
            <a:r>
              <a:rPr lang="en-GB" sz="2400" b="1">
                <a:solidFill>
                  <a:srgbClr val="7414DC"/>
                </a:solidFill>
                <a:latin typeface="Nunito Sans"/>
                <a:cs typeface="Calibri"/>
              </a:rPr>
              <a:t>Digital System Videos</a:t>
            </a:r>
          </a:p>
          <a:p>
            <a:pPr lvl="1" indent="-342900">
              <a:spcBef>
                <a:spcPts val="1500"/>
              </a:spcBef>
              <a:buClr>
                <a:srgbClr val="7414DC"/>
              </a:buClr>
              <a:buSzPct val="100000"/>
              <a:buFont typeface="Arial" panose="020B0604020202020204" pitchFamily="34" charset="0"/>
              <a:buChar char="•"/>
              <a:tabLst>
                <a:tab pos="523399" algn="l"/>
                <a:tab pos="523875" algn="l"/>
              </a:tabLst>
            </a:pPr>
            <a:r>
              <a:rPr lang="en-GB" sz="2400" b="1">
                <a:solidFill>
                  <a:srgbClr val="7414DC"/>
                </a:solidFill>
                <a:latin typeface="Nunito Sans"/>
                <a:cs typeface="Calibri"/>
              </a:rPr>
              <a:t>Teams and Titles Webpage</a:t>
            </a:r>
          </a:p>
          <a:p>
            <a:pPr lvl="1" indent="-342900">
              <a:spcBef>
                <a:spcPts val="1500"/>
              </a:spcBef>
              <a:buClr>
                <a:srgbClr val="7414DC"/>
              </a:buClr>
              <a:buSzPct val="100000"/>
              <a:buFont typeface="Arial" panose="020B0604020202020204" pitchFamily="34" charset="0"/>
              <a:buChar char="•"/>
              <a:tabLst>
                <a:tab pos="523399" algn="l"/>
                <a:tab pos="523875" algn="l"/>
              </a:tabLst>
            </a:pPr>
            <a:r>
              <a:rPr lang="en-GB" sz="2400" b="1">
                <a:solidFill>
                  <a:srgbClr val="7414DC"/>
                </a:solidFill>
                <a:latin typeface="Nunito Sans"/>
                <a:cs typeface="Calibri"/>
              </a:rPr>
              <a:t>Sub-teams Webpage</a:t>
            </a:r>
          </a:p>
          <a:p>
            <a:pPr lvl="1" indent="-342900">
              <a:spcBef>
                <a:spcPts val="1500"/>
              </a:spcBef>
              <a:buClr>
                <a:srgbClr val="7414DC"/>
              </a:buClr>
              <a:buSzPct val="100000"/>
              <a:buFont typeface="Arial" panose="020B0604020202020204" pitchFamily="34" charset="0"/>
              <a:buChar char="•"/>
              <a:tabLst>
                <a:tab pos="523399" algn="l"/>
                <a:tab pos="523875" algn="l"/>
              </a:tabLst>
            </a:pPr>
            <a:r>
              <a:rPr lang="en-GB" sz="2400" b="1">
                <a:solidFill>
                  <a:srgbClr val="7414DC"/>
                </a:solidFill>
                <a:latin typeface="Nunito Sans"/>
                <a:cs typeface="Calibri"/>
              </a:rPr>
              <a:t>Helpers Webpage</a:t>
            </a:r>
          </a:p>
          <a:p>
            <a:pPr lvl="1" indent="-342900">
              <a:spcBef>
                <a:spcPts val="1500"/>
              </a:spcBef>
              <a:buClr>
                <a:srgbClr val="7414DC"/>
              </a:buClr>
              <a:buSzPct val="100000"/>
              <a:buFont typeface="Arial" panose="020B0604020202020204" pitchFamily="34" charset="0"/>
              <a:buChar char="•"/>
              <a:tabLst>
                <a:tab pos="523399" algn="l"/>
                <a:tab pos="523875" algn="l"/>
              </a:tabLst>
            </a:pPr>
            <a:r>
              <a:rPr lang="en-GB" sz="2400" b="1">
                <a:solidFill>
                  <a:srgbClr val="7414DC"/>
                </a:solidFill>
                <a:latin typeface="Nunito Sans"/>
                <a:cs typeface="Calibri"/>
              </a:rPr>
              <a:t>Readiness Checklist</a:t>
            </a:r>
          </a:p>
          <a:p>
            <a:pPr lvl="1" indent="-342900">
              <a:spcBef>
                <a:spcPts val="1500"/>
              </a:spcBef>
              <a:buClr>
                <a:srgbClr val="7414DC"/>
              </a:buClr>
              <a:buSzPct val="100000"/>
              <a:buFont typeface="Arial" panose="020B0604020202020204" pitchFamily="34" charset="0"/>
              <a:buChar char="•"/>
              <a:tabLst>
                <a:tab pos="523399" algn="l"/>
                <a:tab pos="523875" algn="l"/>
              </a:tabLst>
            </a:pPr>
            <a:r>
              <a:rPr lang="en-GB" sz="2400" b="1">
                <a:solidFill>
                  <a:srgbClr val="7414DC"/>
                </a:solidFill>
                <a:latin typeface="Nunito Sans"/>
                <a:cs typeface="Calibri"/>
              </a:rPr>
              <a:t>WhatsApp Community</a:t>
            </a:r>
          </a:p>
        </p:txBody>
      </p:sp>
      <p:sp>
        <p:nvSpPr>
          <p:cNvPr id="8" name="TextBox 7">
            <a:extLst>
              <a:ext uri="{FF2B5EF4-FFF2-40B4-BE49-F238E27FC236}">
                <a16:creationId xmlns:a16="http://schemas.microsoft.com/office/drawing/2014/main" id="{EB01AC4D-5059-D568-699E-D21D3E8BC53A}"/>
              </a:ext>
            </a:extLst>
          </p:cNvPr>
          <p:cNvSpPr txBox="1"/>
          <p:nvPr/>
        </p:nvSpPr>
        <p:spPr>
          <a:xfrm>
            <a:off x="309898" y="1008577"/>
            <a:ext cx="4672919" cy="861774"/>
          </a:xfrm>
          <a:prstGeom prst="rect">
            <a:avLst/>
          </a:prstGeom>
          <a:noFill/>
        </p:spPr>
        <p:txBody>
          <a:bodyPr wrap="square" lIns="0" tIns="0" rIns="0" bIns="0" anchor="t">
            <a:spAutoFit/>
          </a:bodyPr>
          <a:lstStyle/>
          <a:p>
            <a:pPr marL="8890" marR="0" lvl="0" indent="0" algn="l" defTabSz="685800" rtl="0" eaLnBrk="1" fontAlgn="auto" latinLnBrk="0" hangingPunct="1">
              <a:lnSpc>
                <a:spcPct val="100000"/>
              </a:lnSpc>
              <a:spcBef>
                <a:spcPts val="1500"/>
              </a:spcBef>
              <a:spcAft>
                <a:spcPts val="0"/>
              </a:spcAft>
              <a:buClr>
                <a:srgbClr val="7030A0"/>
              </a:buClr>
              <a:buSzPct val="140625"/>
              <a:buFontTx/>
              <a:buNone/>
              <a:tabLst>
                <a:tab pos="523399" algn="l"/>
                <a:tab pos="523875" algn="l"/>
              </a:tabLst>
              <a:defRPr/>
            </a:pPr>
            <a:r>
              <a:rPr kumimoji="0" lang="en-GB" sz="2800" b="0" i="0" u="none" strike="noStrike" kern="1200" cap="none" spc="0" normalizeH="0" baseline="0" noProof="0">
                <a:ln>
                  <a:noFill/>
                </a:ln>
                <a:solidFill>
                  <a:srgbClr val="7413DC"/>
                </a:solidFill>
                <a:effectLst/>
                <a:uLnTx/>
                <a:uFillTx/>
                <a:latin typeface="Nunito Sans Black"/>
                <a:ea typeface="+mn-ea"/>
                <a:cs typeface="+mn-cs"/>
              </a:rPr>
              <a:t>What we shared last month</a:t>
            </a:r>
            <a:endParaRPr kumimoji="0" lang="en-US" sz="2800" b="0" i="0" u="none" strike="noStrike" kern="1200" cap="none" spc="0" normalizeH="0" baseline="0" noProof="0">
              <a:ln>
                <a:noFill/>
              </a:ln>
              <a:solidFill>
                <a:srgbClr val="7413DC"/>
              </a:solidFill>
              <a:effectLst/>
              <a:uLnTx/>
              <a:uFillTx/>
              <a:latin typeface="Nunito Sans Black"/>
              <a:ea typeface="+mn-ea"/>
              <a:cs typeface="Calibri"/>
            </a:endParaRPr>
          </a:p>
        </p:txBody>
      </p:sp>
    </p:spTree>
    <p:extLst>
      <p:ext uri="{BB962C8B-B14F-4D97-AF65-F5344CB8AC3E}">
        <p14:creationId xmlns:p14="http://schemas.microsoft.com/office/powerpoint/2010/main" val="37293412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9529763" cy="1217829"/>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buClr>
                <a:srgbClr val="7414DC"/>
              </a:buClr>
              <a:defRPr/>
            </a:pPr>
            <a:r>
              <a:rPr lang="en-GB" sz="4000">
                <a:latin typeface="Nunito Sans Black"/>
              </a:rPr>
              <a:t>System Processes</a:t>
            </a:r>
            <a:endParaRPr kumimoji="0" lang="en-US" sz="4000" b="0" i="0" u="none" strike="noStrike" kern="1200" cap="none" spc="-53" normalizeH="0" baseline="0" noProof="0">
              <a:ln>
                <a:noFill/>
              </a:ln>
              <a:solidFill>
                <a:srgbClr val="FFFFFF"/>
              </a:solidFill>
              <a:effectLst/>
              <a:uLnTx/>
              <a:uFillTx/>
              <a:latin typeface="Nunito Sans"/>
            </a:endParaRPr>
          </a:p>
        </p:txBody>
      </p:sp>
    </p:spTree>
    <p:extLst>
      <p:ext uri="{BB962C8B-B14F-4D97-AF65-F5344CB8AC3E}">
        <p14:creationId xmlns:p14="http://schemas.microsoft.com/office/powerpoint/2010/main" val="4888817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C87C273-51ED-12B6-BDD7-7A28E31A4BF8}"/>
              </a:ext>
            </a:extLst>
          </p:cNvPr>
          <p:cNvSpPr txBox="1"/>
          <p:nvPr/>
        </p:nvSpPr>
        <p:spPr>
          <a:xfrm>
            <a:off x="6441398" y="2349844"/>
            <a:ext cx="5491568" cy="3424014"/>
          </a:xfrm>
          <a:prstGeom prst="rect">
            <a:avLst/>
          </a:prstGeom>
          <a:noFill/>
        </p:spPr>
        <p:txBody>
          <a:bodyPr wrap="square" lIns="68580" tIns="34290" rIns="68580" bIns="34290" rtlCol="0" anchor="t">
            <a:spAutoFit/>
          </a:bodyPr>
          <a:lstStyle/>
          <a:p>
            <a:pPr marL="352425" indent="-342900">
              <a:spcBef>
                <a:spcPts val="600"/>
              </a:spcBef>
              <a:spcAft>
                <a:spcPts val="600"/>
              </a:spcAft>
              <a:buClr>
                <a:srgbClr val="7414DC"/>
              </a:buClr>
              <a:buSzPct val="125000"/>
              <a:buFont typeface="Arial" panose="020B0604020202020204" pitchFamily="34" charset="0"/>
              <a:buChar char="•"/>
              <a:defRPr/>
            </a:pPr>
            <a:r>
              <a:rPr kumimoji="0" lang="en-GB" sz="2200" b="0" i="0" u="none" strike="noStrike" kern="1200" cap="none" spc="0" normalizeH="0" baseline="0" noProof="0">
                <a:ln>
                  <a:noFill/>
                </a:ln>
                <a:solidFill>
                  <a:srgbClr val="000000"/>
                </a:solidFill>
                <a:effectLst/>
                <a:uLnTx/>
                <a:uFillTx/>
                <a:latin typeface="Nunito Sans"/>
                <a:ea typeface="Calibri"/>
              </a:rPr>
              <a:t>New system features will replace or amend several </a:t>
            </a:r>
            <a:r>
              <a:rPr lang="en-GB" sz="2200">
                <a:solidFill>
                  <a:srgbClr val="000000"/>
                </a:solidFill>
                <a:latin typeface="Nunito Sans"/>
                <a:ea typeface="Calibri"/>
              </a:rPr>
              <a:t>current Scouts </a:t>
            </a:r>
            <a:r>
              <a:rPr kumimoji="0" lang="en-GB" sz="2200" b="0" i="0" u="none" strike="noStrike" kern="1200" cap="none" spc="0" normalizeH="0" baseline="0" noProof="0">
                <a:ln>
                  <a:noFill/>
                </a:ln>
                <a:solidFill>
                  <a:srgbClr val="000000"/>
                </a:solidFill>
                <a:effectLst/>
                <a:uLnTx/>
                <a:uFillTx/>
                <a:latin typeface="Nunito Sans"/>
                <a:ea typeface="Calibri"/>
              </a:rPr>
              <a:t>processes</a:t>
            </a:r>
            <a:r>
              <a:rPr lang="en-GB" sz="2200">
                <a:solidFill>
                  <a:srgbClr val="000000"/>
                </a:solidFill>
                <a:latin typeface="Nunito Sans"/>
                <a:ea typeface="Calibri"/>
              </a:rPr>
              <a:t> </a:t>
            </a:r>
            <a:endParaRPr kumimoji="0" lang="en-GB" sz="2200" b="0" i="0" u="none" strike="noStrike" kern="1200" cap="none" spc="0" normalizeH="0" baseline="0" noProof="0">
              <a:ln>
                <a:noFill/>
              </a:ln>
              <a:solidFill>
                <a:srgbClr val="000000"/>
              </a:solidFill>
              <a:effectLst/>
              <a:uLnTx/>
              <a:uFillTx/>
              <a:latin typeface="Nunito Sans"/>
              <a:ea typeface="Calibri"/>
            </a:endParaRPr>
          </a:p>
          <a:p>
            <a:pPr marL="352425" indent="-342900">
              <a:spcBef>
                <a:spcPts val="600"/>
              </a:spcBef>
              <a:spcAft>
                <a:spcPts val="600"/>
              </a:spcAft>
              <a:buClr>
                <a:srgbClr val="7414DC"/>
              </a:buClr>
              <a:buSzPct val="125000"/>
              <a:buFont typeface="Arial" panose="020B0604020202020204" pitchFamily="34" charset="0"/>
              <a:buChar char="•"/>
              <a:defRPr/>
            </a:pPr>
            <a:r>
              <a:rPr lang="en-GB" sz="2200">
                <a:solidFill>
                  <a:srgbClr val="000000"/>
                </a:solidFill>
                <a:latin typeface="Nunito Sans"/>
                <a:ea typeface="Calibri"/>
              </a:rPr>
              <a:t>How you implement these processes locally will need to be built into your preparations </a:t>
            </a:r>
          </a:p>
          <a:p>
            <a:pPr marL="352425" indent="-342900">
              <a:spcBef>
                <a:spcPts val="600"/>
              </a:spcBef>
              <a:spcAft>
                <a:spcPts val="600"/>
              </a:spcAft>
              <a:buClr>
                <a:srgbClr val="7414DC"/>
              </a:buClr>
              <a:buSzPct val="125000"/>
              <a:buFont typeface="Arial" panose="020B0604020202020204" pitchFamily="34" charset="0"/>
              <a:buChar char="•"/>
              <a:defRPr/>
            </a:pPr>
            <a:r>
              <a:rPr kumimoji="0" lang="en-GB" sz="2200" b="0" i="0" u="none" strike="noStrike" kern="1200" cap="none" spc="0" normalizeH="0" baseline="0" noProof="0">
                <a:ln>
                  <a:noFill/>
                </a:ln>
                <a:solidFill>
                  <a:srgbClr val="000000"/>
                </a:solidFill>
                <a:effectLst/>
                <a:uLnTx/>
                <a:uFillTx/>
                <a:latin typeface="Nunito Sans"/>
                <a:ea typeface="Calibri"/>
              </a:rPr>
              <a:t>We’ll cover some processes today and the others in materials which will be shared during November</a:t>
            </a:r>
            <a:endParaRPr lang="en-GB" sz="2200" b="0" i="0" u="none" strike="noStrike" kern="1200" cap="none" spc="0" normalizeH="0" baseline="0" noProof="0">
              <a:ln>
                <a:noFill/>
              </a:ln>
              <a:solidFill>
                <a:srgbClr val="000000"/>
              </a:solidFill>
              <a:effectLst/>
              <a:uLnTx/>
              <a:uFillTx/>
              <a:latin typeface="Nunito Sans"/>
              <a:ea typeface="Calibri"/>
            </a:endParaRPr>
          </a:p>
        </p:txBody>
      </p:sp>
      <p:sp>
        <p:nvSpPr>
          <p:cNvPr id="5" name="object 5">
            <a:extLst>
              <a:ext uri="{FF2B5EF4-FFF2-40B4-BE49-F238E27FC236}">
                <a16:creationId xmlns:a16="http://schemas.microsoft.com/office/drawing/2014/main" id="{52EBD7CB-CAB0-238B-96A4-71E2BBF45749}"/>
              </a:ext>
            </a:extLst>
          </p:cNvPr>
          <p:cNvSpPr txBox="1"/>
          <p:nvPr/>
        </p:nvSpPr>
        <p:spPr>
          <a:xfrm>
            <a:off x="6359166" y="1013536"/>
            <a:ext cx="5656032"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Overview</a:t>
            </a:r>
            <a:endParaRPr kumimoji="0" lang="en-US" sz="1800" b="0" i="0" u="none" strike="noStrike" kern="1200" cap="none" spc="0" normalizeH="0" baseline="0" noProof="0">
              <a:ln>
                <a:noFill/>
              </a:ln>
              <a:solidFill>
                <a:srgbClr val="000000"/>
              </a:solidFill>
              <a:effectLst/>
              <a:uLnTx/>
              <a:uFillTx/>
              <a:latin typeface="Nunito Sans"/>
              <a:ea typeface="+mn-ea"/>
              <a:cs typeface="+mn-cs"/>
            </a:endParaRPr>
          </a:p>
        </p:txBody>
      </p:sp>
      <p:pic>
        <p:nvPicPr>
          <p:cNvPr id="2" name="Picture 1" descr="two-cubs-learning-digital-skills-jpg.jp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Tree>
    <p:extLst>
      <p:ext uri="{BB962C8B-B14F-4D97-AF65-F5344CB8AC3E}">
        <p14:creationId xmlns:p14="http://schemas.microsoft.com/office/powerpoint/2010/main" val="3696376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CA6BBCD2-8BDC-5016-2873-F9024C417E7F}"/>
              </a:ext>
            </a:extLst>
          </p:cNvPr>
          <p:cNvGraphicFramePr>
            <a:graphicFrameLocks noGrp="1"/>
          </p:cNvGraphicFramePr>
          <p:nvPr>
            <p:extLst>
              <p:ext uri="{D42A27DB-BD31-4B8C-83A1-F6EECF244321}">
                <p14:modId xmlns:p14="http://schemas.microsoft.com/office/powerpoint/2010/main" val="3407354883"/>
              </p:ext>
            </p:extLst>
          </p:nvPr>
        </p:nvGraphicFramePr>
        <p:xfrm>
          <a:off x="918657" y="1543878"/>
          <a:ext cx="10531167" cy="4890051"/>
        </p:xfrm>
        <a:graphic>
          <a:graphicData uri="http://schemas.openxmlformats.org/drawingml/2006/table">
            <a:tbl>
              <a:tblPr bandRow="1">
                <a:tableStyleId>{5C22544A-7EE6-4342-B048-85BDC9FD1C3A}</a:tableStyleId>
              </a:tblPr>
              <a:tblGrid>
                <a:gridCol w="3560524">
                  <a:extLst>
                    <a:ext uri="{9D8B030D-6E8A-4147-A177-3AD203B41FA5}">
                      <a16:colId xmlns:a16="http://schemas.microsoft.com/office/drawing/2014/main" val="1950654277"/>
                    </a:ext>
                  </a:extLst>
                </a:gridCol>
                <a:gridCol w="3460254">
                  <a:extLst>
                    <a:ext uri="{9D8B030D-6E8A-4147-A177-3AD203B41FA5}">
                      <a16:colId xmlns:a16="http://schemas.microsoft.com/office/drawing/2014/main" val="1998248117"/>
                    </a:ext>
                  </a:extLst>
                </a:gridCol>
                <a:gridCol w="3510389">
                  <a:extLst>
                    <a:ext uri="{9D8B030D-6E8A-4147-A177-3AD203B41FA5}">
                      <a16:colId xmlns:a16="http://schemas.microsoft.com/office/drawing/2014/main" val="520566678"/>
                    </a:ext>
                  </a:extLst>
                </a:gridCol>
              </a:tblGrid>
              <a:tr h="1205947">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t>Attracting new volunteers</a:t>
                      </a:r>
                    </a:p>
                  </a:txBody>
                  <a:tcPr anchor="ctr">
                    <a:lnR w="28575" cap="flat" cmpd="sng" algn="ctr">
                      <a:solidFill>
                        <a:schemeClr val="tx2"/>
                      </a:solidFill>
                      <a:prstDash val="lgDash"/>
                      <a:round/>
                      <a:headEnd type="none" w="med" len="med"/>
                      <a:tailEnd type="none" w="med" len="med"/>
                    </a:lnR>
                    <a:lnB w="28575" cap="flat" cmpd="sng" algn="ctr">
                      <a:solidFill>
                        <a:schemeClr val="tx2"/>
                      </a:solidFill>
                      <a:prstDash val="lgDash"/>
                      <a:round/>
                      <a:headEnd type="none" w="med" len="med"/>
                      <a:tailEnd type="none" w="med" len="med"/>
                    </a:lnB>
                    <a:noFill/>
                  </a:tcPr>
                </a:tc>
                <a:tc>
                  <a:txBody>
                    <a:bodyPr/>
                    <a:lstStyle/>
                    <a:p>
                      <a:pPr marL="0" marR="0" lvl="0" indent="0" algn="ctr" eaLnBrk="1" fontAlgn="auto" latinLnBrk="0" hangingPunct="1">
                        <a:lnSpc>
                          <a:spcPct val="100000"/>
                        </a:lnSpc>
                        <a:spcBef>
                          <a:spcPts val="0"/>
                        </a:spcBef>
                        <a:spcAft>
                          <a:spcPts val="0"/>
                        </a:spcAft>
                        <a:buClrTx/>
                        <a:buSzTx/>
                        <a:buFontTx/>
                        <a:buNone/>
                      </a:pPr>
                      <a:r>
                        <a:rPr kumimoji="0" lang="en-GB" sz="1800" b="0" i="0" u="none" strike="noStrike" kern="0" cap="none" spc="0" normalizeH="0" baseline="0" noProof="0">
                          <a:ln>
                            <a:noFill/>
                          </a:ln>
                          <a:solidFill>
                            <a:srgbClr val="000000"/>
                          </a:solidFill>
                          <a:effectLst/>
                          <a:uLnTx/>
                          <a:uFillTx/>
                          <a:latin typeface="+mn-lt"/>
                          <a:ea typeface="+mn-ea"/>
                          <a:cs typeface="+mn-cs"/>
                        </a:rPr>
                        <a:t>Managing volunteers</a:t>
                      </a:r>
                      <a:br>
                        <a:rPr kumimoji="0" lang="en-GB" sz="1800" b="0" i="0" u="none" strike="noStrike" kern="0" cap="none" spc="0" normalizeH="0" baseline="0" noProof="0">
                          <a:ln>
                            <a:noFill/>
                          </a:ln>
                          <a:solidFill>
                            <a:srgbClr val="000000"/>
                          </a:solidFill>
                          <a:effectLst/>
                          <a:uLnTx/>
                          <a:uFillTx/>
                          <a:latin typeface="+mn-lt"/>
                          <a:ea typeface="+mn-ea"/>
                          <a:cs typeface="+mn-cs"/>
                        </a:rPr>
                      </a:br>
                      <a:r>
                        <a:rPr kumimoji="0" lang="en-GB" sz="1200" b="0" i="0" u="none" strike="noStrike" kern="0" cap="none" spc="0" normalizeH="0" baseline="0" noProof="0">
                          <a:ln>
                            <a:noFill/>
                          </a:ln>
                          <a:solidFill>
                            <a:srgbClr val="000000"/>
                          </a:solidFill>
                          <a:effectLst/>
                          <a:uLnTx/>
                          <a:uFillTx/>
                          <a:latin typeface="+mn-lt"/>
                          <a:ea typeface="+mn-ea"/>
                          <a:cs typeface="+mn-cs"/>
                        </a:rPr>
                        <a:t>(Inc. their teams &amp; accreditations)</a:t>
                      </a:r>
                      <a:endParaRPr kumimoji="0" lang="en-GB" sz="1800" b="0" i="0" u="none" strike="noStrike" kern="0" cap="none" spc="0" normalizeH="0" baseline="0" noProof="0">
                        <a:ln>
                          <a:noFill/>
                        </a:ln>
                        <a:solidFill>
                          <a:srgbClr val="000000"/>
                        </a:solidFill>
                        <a:effectLst/>
                        <a:uLnTx/>
                        <a:uFillTx/>
                        <a:latin typeface="+mn-lt"/>
                        <a:ea typeface="+mn-ea"/>
                        <a:cs typeface="+mn-cs"/>
                      </a:endParaRPr>
                    </a:p>
                  </a:txBody>
                  <a:tcPr anchor="ctr">
                    <a:lnL w="28575" cap="flat" cmpd="sng" algn="ctr">
                      <a:solidFill>
                        <a:schemeClr val="tx2"/>
                      </a:solidFill>
                      <a:prstDash val="lgDash"/>
                      <a:round/>
                      <a:headEnd type="none" w="med" len="med"/>
                      <a:tailEnd type="none" w="med" len="med"/>
                    </a:lnL>
                    <a:lnR w="28575" cap="flat" cmpd="sng" algn="ctr">
                      <a:solidFill>
                        <a:schemeClr val="tx2"/>
                      </a:solidFill>
                      <a:prstDash val="lgDash"/>
                      <a:round/>
                      <a:headEnd type="none" w="med" len="med"/>
                      <a:tailEnd type="none" w="med" len="med"/>
                    </a:lnR>
                    <a:lnB w="28575" cap="flat" cmpd="sng" algn="ctr">
                      <a:solidFill>
                        <a:schemeClr val="tx2"/>
                      </a:solidFill>
                      <a:prstDash val="lgDash"/>
                      <a:round/>
                      <a:headEnd type="none" w="med" len="med"/>
                      <a:tailEnd type="none" w="med" len="med"/>
                    </a:lnB>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t>Activity &amp; Nights Away Permits</a:t>
                      </a:r>
                    </a:p>
                  </a:txBody>
                  <a:tcPr anchor="ctr">
                    <a:lnL w="28575" cap="flat" cmpd="sng" algn="ctr">
                      <a:solidFill>
                        <a:schemeClr val="tx2"/>
                      </a:solidFill>
                      <a:prstDash val="lgDash"/>
                      <a:round/>
                      <a:headEnd type="none" w="med" len="med"/>
                      <a:tailEnd type="none" w="med" len="med"/>
                    </a:lnL>
                    <a:lnB w="28575" cap="flat" cmpd="sng" algn="ctr">
                      <a:solidFill>
                        <a:schemeClr val="tx2"/>
                      </a:solidFill>
                      <a:prstDash val="lgDash"/>
                      <a:round/>
                      <a:headEnd type="none" w="med" len="med"/>
                      <a:tailEnd type="none" w="med" len="med"/>
                    </a:lnB>
                    <a:noFill/>
                  </a:tcPr>
                </a:tc>
                <a:extLst>
                  <a:ext uri="{0D108BD9-81ED-4DB2-BD59-A6C34878D82A}">
                    <a16:rowId xmlns:a16="http://schemas.microsoft.com/office/drawing/2014/main" val="3958723092"/>
                  </a:ext>
                </a:extLst>
              </a:tr>
              <a:tr h="1258957">
                <a:tc>
                  <a:txBody>
                    <a:bodyPr/>
                    <a:lstStyle/>
                    <a:p>
                      <a:pPr algn="ctr"/>
                      <a:r>
                        <a:rPr lang="en-GB"/>
                        <a:t>The Joining Journey</a:t>
                      </a:r>
                      <a:br>
                        <a:rPr lang="en-GB"/>
                      </a:br>
                      <a:r>
                        <a:rPr lang="en-GB" sz="1200"/>
                        <a:t>(Inc. Growing Roots)</a:t>
                      </a:r>
                      <a:endParaRPr lang="en-GB"/>
                    </a:p>
                  </a:txBody>
                  <a:tcPr anchor="ctr">
                    <a:lnR w="28575" cap="flat" cmpd="sng" algn="ctr">
                      <a:solidFill>
                        <a:schemeClr val="tx2"/>
                      </a:solidFill>
                      <a:prstDash val="lgDash"/>
                      <a:round/>
                      <a:headEnd type="none" w="med" len="med"/>
                      <a:tailEnd type="none" w="med" len="med"/>
                    </a:lnR>
                    <a:lnT w="28575" cap="flat" cmpd="sng" algn="ctr">
                      <a:solidFill>
                        <a:schemeClr val="tx2"/>
                      </a:solidFill>
                      <a:prstDash val="lgDash"/>
                      <a:round/>
                      <a:headEnd type="none" w="med" len="med"/>
                      <a:tailEnd type="none" w="med" len="med"/>
                    </a:lnT>
                    <a:lnB w="28575" cap="flat" cmpd="sng" algn="ctr">
                      <a:solidFill>
                        <a:schemeClr val="tx2"/>
                      </a:solidFill>
                      <a:prstDash val="lgDash"/>
                      <a:round/>
                      <a:headEnd type="none" w="med" len="med"/>
                      <a:tailEnd type="none" w="med" len="med"/>
                    </a:lnB>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t>Managing your local structures</a:t>
                      </a:r>
                      <a:br>
                        <a:rPr lang="en-GB"/>
                      </a:br>
                      <a:r>
                        <a:rPr lang="en-GB" sz="1200"/>
                        <a:t>(Inc. teams &amp; sub-teams)</a:t>
                      </a:r>
                    </a:p>
                  </a:txBody>
                  <a:tcPr anchor="ctr">
                    <a:lnL w="28575" cap="flat" cmpd="sng" algn="ctr">
                      <a:solidFill>
                        <a:schemeClr val="tx2"/>
                      </a:solidFill>
                      <a:prstDash val="lgDash"/>
                      <a:round/>
                      <a:headEnd type="none" w="med" len="med"/>
                      <a:tailEnd type="none" w="med" len="med"/>
                    </a:lnL>
                    <a:lnR w="28575" cap="flat" cmpd="sng" algn="ctr">
                      <a:solidFill>
                        <a:schemeClr val="tx2"/>
                      </a:solidFill>
                      <a:prstDash val="lgDash"/>
                      <a:round/>
                      <a:headEnd type="none" w="med" len="med"/>
                      <a:tailEnd type="none" w="med" len="med"/>
                    </a:lnR>
                    <a:lnT w="28575" cap="flat" cmpd="sng" algn="ctr">
                      <a:solidFill>
                        <a:schemeClr val="tx2"/>
                      </a:solidFill>
                      <a:prstDash val="lgDash"/>
                      <a:round/>
                      <a:headEnd type="none" w="med" len="med"/>
                      <a:tailEnd type="none" w="med" len="med"/>
                    </a:lnT>
                    <a:lnB w="28575" cap="flat" cmpd="sng" algn="ctr">
                      <a:solidFill>
                        <a:schemeClr val="tx2"/>
                      </a:solidFill>
                      <a:prstDash val="lgDash"/>
                      <a:round/>
                      <a:headEnd type="none" w="med" len="med"/>
                      <a:tailEnd type="none" w="med" len="med"/>
                    </a:lnB>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t>Nights Away Notifications</a:t>
                      </a:r>
                    </a:p>
                  </a:txBody>
                  <a:tcPr anchor="ctr">
                    <a:lnL w="28575" cap="flat" cmpd="sng" algn="ctr">
                      <a:solidFill>
                        <a:schemeClr val="tx2"/>
                      </a:solidFill>
                      <a:prstDash val="lgDash"/>
                      <a:round/>
                      <a:headEnd type="none" w="med" len="med"/>
                      <a:tailEnd type="none" w="med" len="med"/>
                    </a:lnL>
                    <a:lnT w="28575" cap="flat" cmpd="sng" algn="ctr">
                      <a:solidFill>
                        <a:schemeClr val="tx2"/>
                      </a:solidFill>
                      <a:prstDash val="lgDash"/>
                      <a:round/>
                      <a:headEnd type="none" w="med" len="med"/>
                      <a:tailEnd type="none" w="med" len="med"/>
                    </a:lnT>
                    <a:lnB w="28575" cap="flat" cmpd="sng" algn="ctr">
                      <a:solidFill>
                        <a:schemeClr val="tx2"/>
                      </a:solidFill>
                      <a:prstDash val="lgDash"/>
                      <a:round/>
                      <a:headEnd type="none" w="med" len="med"/>
                      <a:tailEnd type="none" w="med" len="med"/>
                    </a:lnB>
                    <a:noFill/>
                  </a:tcPr>
                </a:tc>
                <a:extLst>
                  <a:ext uri="{0D108BD9-81ED-4DB2-BD59-A6C34878D82A}">
                    <a16:rowId xmlns:a16="http://schemas.microsoft.com/office/drawing/2014/main" val="2680876361"/>
                  </a:ext>
                </a:extLst>
              </a:tr>
              <a:tr h="1252330">
                <a:tc>
                  <a:txBody>
                    <a:bodyPr/>
                    <a:lstStyle/>
                    <a:p>
                      <a:pPr marL="0" marR="0" lvl="0" indent="0" algn="ctr" eaLnBrk="1" fontAlgn="auto" latinLnBrk="0" hangingPunct="1">
                        <a:lnSpc>
                          <a:spcPct val="100000"/>
                        </a:lnSpc>
                        <a:spcBef>
                          <a:spcPts val="0"/>
                        </a:spcBef>
                        <a:spcAft>
                          <a:spcPts val="0"/>
                        </a:spcAft>
                        <a:buClrTx/>
                        <a:buSzTx/>
                        <a:buFontTx/>
                        <a:buNone/>
                      </a:pPr>
                      <a:r>
                        <a:rPr lang="en-GB"/>
                        <a:t>Managing my personal details </a:t>
                      </a:r>
                    </a:p>
                  </a:txBody>
                  <a:tcPr anchor="ctr">
                    <a:lnR w="28575" cap="flat" cmpd="sng" algn="ctr">
                      <a:solidFill>
                        <a:schemeClr val="tx2"/>
                      </a:solidFill>
                      <a:prstDash val="lgDash"/>
                      <a:round/>
                      <a:headEnd type="none" w="med" len="med"/>
                      <a:tailEnd type="none" w="med" len="med"/>
                    </a:lnR>
                    <a:lnT w="28575" cap="flat" cmpd="sng" algn="ctr">
                      <a:solidFill>
                        <a:schemeClr val="tx2"/>
                      </a:solidFill>
                      <a:prstDash val="lgDash"/>
                      <a:round/>
                      <a:headEnd type="none" w="med" len="med"/>
                      <a:tailEnd type="none" w="med" len="med"/>
                    </a:lnT>
                    <a:lnB w="28575" cap="flat" cmpd="sng" algn="ctr">
                      <a:solidFill>
                        <a:schemeClr val="tx2"/>
                      </a:solidFill>
                      <a:prstDash val="lgDash"/>
                      <a:round/>
                      <a:headEnd type="none" w="med" len="med"/>
                      <a:tailEnd type="none" w="med" len="med"/>
                    </a:lnB>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t>Dashboards &amp; Reporting</a:t>
                      </a:r>
                    </a:p>
                  </a:txBody>
                  <a:tcPr anchor="ctr">
                    <a:lnL w="28575" cap="flat" cmpd="sng" algn="ctr">
                      <a:solidFill>
                        <a:schemeClr val="tx2"/>
                      </a:solidFill>
                      <a:prstDash val="lgDash"/>
                      <a:round/>
                      <a:headEnd type="none" w="med" len="med"/>
                      <a:tailEnd type="none" w="med" len="med"/>
                    </a:lnL>
                    <a:lnR w="28575" cap="flat" cmpd="sng" algn="ctr">
                      <a:solidFill>
                        <a:schemeClr val="tx2"/>
                      </a:solidFill>
                      <a:prstDash val="lgDash"/>
                      <a:round/>
                      <a:headEnd type="none" w="med" len="med"/>
                      <a:tailEnd type="none" w="med" len="med"/>
                    </a:lnR>
                    <a:lnT w="28575" cap="flat" cmpd="sng" algn="ctr">
                      <a:solidFill>
                        <a:schemeClr val="tx2"/>
                      </a:solidFill>
                      <a:prstDash val="lgDash"/>
                      <a:round/>
                      <a:headEnd type="none" w="med" len="med"/>
                      <a:tailEnd type="none" w="med" len="med"/>
                    </a:lnT>
                    <a:lnB w="28575" cap="flat" cmpd="sng" algn="ctr">
                      <a:solidFill>
                        <a:schemeClr val="tx2"/>
                      </a:solidFill>
                      <a:prstDash val="lgDash"/>
                      <a:round/>
                      <a:headEnd type="none" w="med" len="med"/>
                      <a:tailEnd type="none" w="med" len="med"/>
                    </a:lnB>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t>Good Service Awards</a:t>
                      </a:r>
                    </a:p>
                  </a:txBody>
                  <a:tcPr anchor="ctr">
                    <a:lnL w="28575" cap="flat" cmpd="sng" algn="ctr">
                      <a:solidFill>
                        <a:schemeClr val="tx2"/>
                      </a:solidFill>
                      <a:prstDash val="lgDash"/>
                      <a:round/>
                      <a:headEnd type="none" w="med" len="med"/>
                      <a:tailEnd type="none" w="med" len="med"/>
                    </a:lnL>
                    <a:lnT w="28575" cap="flat" cmpd="sng" algn="ctr">
                      <a:solidFill>
                        <a:schemeClr val="tx2"/>
                      </a:solidFill>
                      <a:prstDash val="lgDash"/>
                      <a:round/>
                      <a:headEnd type="none" w="med" len="med"/>
                      <a:tailEnd type="none" w="med" len="med"/>
                    </a:lnT>
                    <a:lnB w="28575" cap="flat" cmpd="sng" algn="ctr">
                      <a:solidFill>
                        <a:schemeClr val="tx2"/>
                      </a:solidFill>
                      <a:prstDash val="lgDash"/>
                      <a:round/>
                      <a:headEnd type="none" w="med" len="med"/>
                      <a:tailEnd type="none" w="med" len="med"/>
                    </a:lnB>
                    <a:noFill/>
                  </a:tcPr>
                </a:tc>
                <a:extLst>
                  <a:ext uri="{0D108BD9-81ED-4DB2-BD59-A6C34878D82A}">
                    <a16:rowId xmlns:a16="http://schemas.microsoft.com/office/drawing/2014/main" val="4044799388"/>
                  </a:ext>
                </a:extLst>
              </a:tr>
              <a:tr h="1172817">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t>Learning</a:t>
                      </a:r>
                    </a:p>
                  </a:txBody>
                  <a:tcPr anchor="ctr">
                    <a:lnR w="28575" cap="flat" cmpd="sng" algn="ctr">
                      <a:solidFill>
                        <a:schemeClr val="tx2"/>
                      </a:solidFill>
                      <a:prstDash val="lgDash"/>
                      <a:round/>
                      <a:headEnd type="none" w="med" len="med"/>
                      <a:tailEnd type="none" w="med" len="med"/>
                    </a:lnR>
                    <a:lnT w="28575" cap="flat" cmpd="sng" algn="ctr">
                      <a:solidFill>
                        <a:schemeClr val="tx2"/>
                      </a:solidFill>
                      <a:prstDash val="lgDash"/>
                      <a:round/>
                      <a:headEnd type="none" w="med" len="med"/>
                      <a:tailEnd type="none" w="med" len="med"/>
                    </a:lnT>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t>Appointment Reviews</a:t>
                      </a:r>
                    </a:p>
                  </a:txBody>
                  <a:tcPr anchor="ctr">
                    <a:lnL w="28575" cap="flat" cmpd="sng" algn="ctr">
                      <a:solidFill>
                        <a:schemeClr val="tx2"/>
                      </a:solidFill>
                      <a:prstDash val="lgDash"/>
                      <a:round/>
                      <a:headEnd type="none" w="med" len="med"/>
                      <a:tailEnd type="none" w="med" len="med"/>
                    </a:lnL>
                    <a:lnR w="28575" cap="flat" cmpd="sng" algn="ctr">
                      <a:solidFill>
                        <a:schemeClr val="tx2"/>
                      </a:solidFill>
                      <a:prstDash val="lgDash"/>
                      <a:round/>
                      <a:headEnd type="none" w="med" len="med"/>
                      <a:tailEnd type="none" w="med" len="med"/>
                    </a:lnR>
                    <a:lnT w="28575" cap="flat" cmpd="sng" algn="ctr">
                      <a:solidFill>
                        <a:schemeClr val="tx2"/>
                      </a:solidFill>
                      <a:prstDash val="lgDash"/>
                      <a:round/>
                      <a:headEnd type="none" w="med" len="med"/>
                      <a:tailEnd type="none" w="med" len="med"/>
                    </a:lnT>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t>Grant applications and tracking</a:t>
                      </a:r>
                    </a:p>
                  </a:txBody>
                  <a:tcPr anchor="ctr">
                    <a:lnL w="28575" cap="flat" cmpd="sng" algn="ctr">
                      <a:solidFill>
                        <a:schemeClr val="tx2"/>
                      </a:solidFill>
                      <a:prstDash val="lgDash"/>
                      <a:round/>
                      <a:headEnd type="none" w="med" len="med"/>
                      <a:tailEnd type="none" w="med" len="med"/>
                    </a:lnL>
                    <a:lnT w="28575" cap="flat" cmpd="sng" algn="ctr">
                      <a:solidFill>
                        <a:schemeClr val="tx2"/>
                      </a:solidFill>
                      <a:prstDash val="lgDash"/>
                      <a:round/>
                      <a:headEnd type="none" w="med" len="med"/>
                      <a:tailEnd type="none" w="med" len="med"/>
                    </a:lnT>
                    <a:noFill/>
                  </a:tcPr>
                </a:tc>
                <a:extLst>
                  <a:ext uri="{0D108BD9-81ED-4DB2-BD59-A6C34878D82A}">
                    <a16:rowId xmlns:a16="http://schemas.microsoft.com/office/drawing/2014/main" val="3598037251"/>
                  </a:ext>
                </a:extLst>
              </a:tr>
            </a:tbl>
          </a:graphicData>
        </a:graphic>
      </p:graphicFrame>
      <p:sp>
        <p:nvSpPr>
          <p:cNvPr id="4" name="object 5">
            <a:extLst>
              <a:ext uri="{FF2B5EF4-FFF2-40B4-BE49-F238E27FC236}">
                <a16:creationId xmlns:a16="http://schemas.microsoft.com/office/drawing/2014/main" id="{87A82FBF-B6EB-0A78-A831-560D2238C6B9}"/>
              </a:ext>
            </a:extLst>
          </p:cNvPr>
          <p:cNvSpPr txBox="1"/>
          <p:nvPr/>
        </p:nvSpPr>
        <p:spPr>
          <a:xfrm>
            <a:off x="528208" y="947275"/>
            <a:ext cx="6749921"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lang="en-GB" sz="3000" kern="0">
                <a:solidFill>
                  <a:srgbClr val="7413DC"/>
                </a:solidFill>
                <a:latin typeface="Nunito Sans Black"/>
                <a:cs typeface="Calibri"/>
              </a:rPr>
              <a:t>Process changes and enhancements</a:t>
            </a:r>
            <a:endParaRPr kumimoji="0" lang="en-US" sz="1800" b="0" i="0" u="none" strike="noStrike" kern="1200" cap="none" spc="0" normalizeH="0" baseline="0" noProof="0">
              <a:ln>
                <a:noFill/>
              </a:ln>
              <a:solidFill>
                <a:srgbClr val="000000"/>
              </a:solidFill>
              <a:effectLst/>
              <a:uLnTx/>
              <a:uFillTx/>
              <a:latin typeface="Nunito Sans"/>
              <a:ea typeface="+mn-ea"/>
              <a:cs typeface="+mn-cs"/>
            </a:endParaRPr>
          </a:p>
        </p:txBody>
      </p:sp>
    </p:spTree>
    <p:extLst>
      <p:ext uri="{BB962C8B-B14F-4D97-AF65-F5344CB8AC3E}">
        <p14:creationId xmlns:p14="http://schemas.microsoft.com/office/powerpoint/2010/main" val="8689156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CA6BBCD2-8BDC-5016-2873-F9024C417E7F}"/>
              </a:ext>
            </a:extLst>
          </p:cNvPr>
          <p:cNvGraphicFramePr>
            <a:graphicFrameLocks noGrp="1"/>
          </p:cNvGraphicFramePr>
          <p:nvPr>
            <p:extLst>
              <p:ext uri="{D42A27DB-BD31-4B8C-83A1-F6EECF244321}">
                <p14:modId xmlns:p14="http://schemas.microsoft.com/office/powerpoint/2010/main" val="1727847441"/>
              </p:ext>
            </p:extLst>
          </p:nvPr>
        </p:nvGraphicFramePr>
        <p:xfrm>
          <a:off x="918657" y="1543878"/>
          <a:ext cx="10531167" cy="4890051"/>
        </p:xfrm>
        <a:graphic>
          <a:graphicData uri="http://schemas.openxmlformats.org/drawingml/2006/table">
            <a:tbl>
              <a:tblPr bandRow="1">
                <a:tableStyleId>{5C22544A-7EE6-4342-B048-85BDC9FD1C3A}</a:tableStyleId>
              </a:tblPr>
              <a:tblGrid>
                <a:gridCol w="3560524">
                  <a:extLst>
                    <a:ext uri="{9D8B030D-6E8A-4147-A177-3AD203B41FA5}">
                      <a16:colId xmlns:a16="http://schemas.microsoft.com/office/drawing/2014/main" val="1950654277"/>
                    </a:ext>
                  </a:extLst>
                </a:gridCol>
                <a:gridCol w="3460254">
                  <a:extLst>
                    <a:ext uri="{9D8B030D-6E8A-4147-A177-3AD203B41FA5}">
                      <a16:colId xmlns:a16="http://schemas.microsoft.com/office/drawing/2014/main" val="1998248117"/>
                    </a:ext>
                  </a:extLst>
                </a:gridCol>
                <a:gridCol w="3510389">
                  <a:extLst>
                    <a:ext uri="{9D8B030D-6E8A-4147-A177-3AD203B41FA5}">
                      <a16:colId xmlns:a16="http://schemas.microsoft.com/office/drawing/2014/main" val="520566678"/>
                    </a:ext>
                  </a:extLst>
                </a:gridCol>
              </a:tblGrid>
              <a:tr h="1205947">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t>Attracting new volunteers</a:t>
                      </a:r>
                    </a:p>
                  </a:txBody>
                  <a:tcPr anchor="ctr">
                    <a:lnR w="28575" cap="flat" cmpd="sng" algn="ctr">
                      <a:solidFill>
                        <a:schemeClr val="tx2"/>
                      </a:solidFill>
                      <a:prstDash val="lgDash"/>
                      <a:round/>
                      <a:headEnd type="none" w="med" len="med"/>
                      <a:tailEnd type="none" w="med" len="med"/>
                    </a:lnR>
                    <a:lnB w="28575" cap="flat" cmpd="sng" algn="ctr">
                      <a:solidFill>
                        <a:schemeClr val="tx2"/>
                      </a:solidFill>
                      <a:prstDash val="lgDash"/>
                      <a:round/>
                      <a:headEnd type="none" w="med" len="med"/>
                      <a:tailEnd type="none" w="med" len="med"/>
                    </a:lnB>
                    <a:noFill/>
                  </a:tcPr>
                </a:tc>
                <a:tc>
                  <a:txBody>
                    <a:bodyPr/>
                    <a:lstStyle/>
                    <a:p>
                      <a:pPr marL="0" marR="0" lvl="0" indent="0" algn="ctr" eaLnBrk="1" fontAlgn="auto" latinLnBrk="0" hangingPunct="1">
                        <a:lnSpc>
                          <a:spcPct val="100000"/>
                        </a:lnSpc>
                        <a:spcBef>
                          <a:spcPts val="0"/>
                        </a:spcBef>
                        <a:spcAft>
                          <a:spcPts val="0"/>
                        </a:spcAft>
                        <a:buClrTx/>
                        <a:buSzTx/>
                        <a:buFontTx/>
                        <a:buNone/>
                      </a:pPr>
                      <a:r>
                        <a:rPr kumimoji="0" lang="en-GB" sz="1800" b="0" i="0" u="none" strike="noStrike" kern="0" cap="none" spc="0" normalizeH="0" baseline="0" noProof="0">
                          <a:ln>
                            <a:noFill/>
                          </a:ln>
                          <a:solidFill>
                            <a:srgbClr val="000000"/>
                          </a:solidFill>
                          <a:effectLst/>
                          <a:uLnTx/>
                          <a:uFillTx/>
                          <a:latin typeface="+mn-lt"/>
                          <a:ea typeface="+mn-ea"/>
                          <a:cs typeface="+mn-cs"/>
                        </a:rPr>
                        <a:t>Managing volunteers</a:t>
                      </a:r>
                      <a:br>
                        <a:rPr lang="en-GB" sz="1800" b="0" i="0" u="none" strike="noStrike" kern="0" cap="none" spc="0" normalizeH="0" baseline="0" noProof="0">
                          <a:ln>
                            <a:noFill/>
                          </a:ln>
                          <a:solidFill>
                            <a:srgbClr val="000000"/>
                          </a:solidFill>
                          <a:effectLst/>
                          <a:uLnTx/>
                          <a:uFillTx/>
                          <a:latin typeface="+mn-lt"/>
                          <a:ea typeface="+mn-ea"/>
                          <a:cs typeface="+mn-cs"/>
                        </a:rPr>
                      </a:br>
                      <a:r>
                        <a:rPr kumimoji="0" lang="en-GB" sz="1200" b="0" i="0" u="none" strike="noStrike" kern="0" cap="none" spc="0" normalizeH="0" baseline="0" noProof="0">
                          <a:ln>
                            <a:noFill/>
                          </a:ln>
                          <a:solidFill>
                            <a:srgbClr val="000000"/>
                          </a:solidFill>
                          <a:effectLst/>
                          <a:uLnTx/>
                          <a:uFillTx/>
                          <a:latin typeface="+mn-lt"/>
                          <a:ea typeface="+mn-ea"/>
                          <a:cs typeface="+mn-cs"/>
                        </a:rPr>
                        <a:t>(Inc. their teams &amp; accreditations)</a:t>
                      </a:r>
                      <a:endParaRPr kumimoji="0" lang="en-GB" sz="1800" b="0" i="0" u="none" strike="noStrike" kern="0" cap="none" spc="0" normalizeH="0" baseline="0" noProof="0">
                        <a:ln>
                          <a:noFill/>
                        </a:ln>
                        <a:solidFill>
                          <a:srgbClr val="000000"/>
                        </a:solidFill>
                        <a:effectLst/>
                        <a:uLnTx/>
                        <a:uFillTx/>
                        <a:latin typeface="+mn-lt"/>
                        <a:ea typeface="+mn-ea"/>
                        <a:cs typeface="+mn-cs"/>
                      </a:endParaRPr>
                    </a:p>
                  </a:txBody>
                  <a:tcPr anchor="ctr">
                    <a:lnL w="28575" cap="flat" cmpd="sng" algn="ctr">
                      <a:solidFill>
                        <a:schemeClr val="tx2"/>
                      </a:solidFill>
                      <a:prstDash val="lgDash"/>
                      <a:round/>
                      <a:headEnd type="none" w="med" len="med"/>
                      <a:tailEnd type="none" w="med" len="med"/>
                    </a:lnL>
                    <a:lnR w="28575" cap="flat" cmpd="sng" algn="ctr">
                      <a:solidFill>
                        <a:schemeClr val="tx2"/>
                      </a:solidFill>
                      <a:prstDash val="lgDash"/>
                      <a:round/>
                      <a:headEnd type="none" w="med" len="med"/>
                      <a:tailEnd type="none" w="med" len="med"/>
                    </a:lnR>
                    <a:lnB w="28575" cap="flat" cmpd="sng" algn="ctr">
                      <a:solidFill>
                        <a:schemeClr val="tx2"/>
                      </a:solidFill>
                      <a:prstDash val="lgDash"/>
                      <a:round/>
                      <a:headEnd type="none" w="med" len="med"/>
                      <a:tailEnd type="none" w="med" len="med"/>
                    </a:lnB>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t>Activity &amp; Nights Away Permits</a:t>
                      </a:r>
                    </a:p>
                  </a:txBody>
                  <a:tcPr anchor="ctr">
                    <a:lnL w="28575" cap="flat" cmpd="sng" algn="ctr">
                      <a:solidFill>
                        <a:schemeClr val="tx2"/>
                      </a:solidFill>
                      <a:prstDash val="lgDash"/>
                      <a:round/>
                      <a:headEnd type="none" w="med" len="med"/>
                      <a:tailEnd type="none" w="med" len="med"/>
                    </a:lnL>
                    <a:lnB w="28575" cap="flat" cmpd="sng" algn="ctr">
                      <a:solidFill>
                        <a:schemeClr val="tx2"/>
                      </a:solidFill>
                      <a:prstDash val="lgDash"/>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958723092"/>
                  </a:ext>
                </a:extLst>
              </a:tr>
              <a:tr h="1258957">
                <a:tc>
                  <a:txBody>
                    <a:bodyPr/>
                    <a:lstStyle/>
                    <a:p>
                      <a:pPr algn="ctr"/>
                      <a:r>
                        <a:rPr lang="en-GB"/>
                        <a:t>The Joining Journey</a:t>
                      </a:r>
                      <a:br>
                        <a:rPr lang="en-GB"/>
                      </a:br>
                      <a:r>
                        <a:rPr lang="en-GB" sz="1200"/>
                        <a:t>(Inc. Growing Roots)</a:t>
                      </a:r>
                      <a:endParaRPr lang="en-GB"/>
                    </a:p>
                  </a:txBody>
                  <a:tcPr anchor="ctr">
                    <a:lnR w="28575" cap="flat" cmpd="sng" algn="ctr">
                      <a:solidFill>
                        <a:schemeClr val="tx2"/>
                      </a:solidFill>
                      <a:prstDash val="lgDash"/>
                      <a:round/>
                      <a:headEnd type="none" w="med" len="med"/>
                      <a:tailEnd type="none" w="med" len="med"/>
                    </a:lnR>
                    <a:lnT w="28575" cap="flat" cmpd="sng" algn="ctr">
                      <a:solidFill>
                        <a:schemeClr val="tx2"/>
                      </a:solidFill>
                      <a:prstDash val="lgDash"/>
                      <a:round/>
                      <a:headEnd type="none" w="med" len="med"/>
                      <a:tailEnd type="none" w="med" len="med"/>
                    </a:lnT>
                    <a:lnB w="28575" cap="flat" cmpd="sng" algn="ctr">
                      <a:solidFill>
                        <a:schemeClr val="tx2"/>
                      </a:solidFill>
                      <a:prstDash val="lgDash"/>
                      <a:round/>
                      <a:headEnd type="none" w="med" len="med"/>
                      <a:tailEnd type="none" w="med" len="med"/>
                    </a:lnB>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t>Managing your local structures</a:t>
                      </a:r>
                      <a:br>
                        <a:rPr lang="en-GB"/>
                      </a:br>
                      <a:r>
                        <a:rPr lang="en-GB" sz="1200"/>
                        <a:t>(Inc. teams &amp; sub-teams)</a:t>
                      </a:r>
                    </a:p>
                  </a:txBody>
                  <a:tcPr anchor="ctr">
                    <a:lnL w="28575" cap="flat" cmpd="sng" algn="ctr">
                      <a:solidFill>
                        <a:schemeClr val="tx2"/>
                      </a:solidFill>
                      <a:prstDash val="lgDash"/>
                      <a:round/>
                      <a:headEnd type="none" w="med" len="med"/>
                      <a:tailEnd type="none" w="med" len="med"/>
                    </a:lnL>
                    <a:lnR w="28575" cap="flat" cmpd="sng" algn="ctr">
                      <a:solidFill>
                        <a:schemeClr val="tx2"/>
                      </a:solidFill>
                      <a:prstDash val="lgDash"/>
                      <a:round/>
                      <a:headEnd type="none" w="med" len="med"/>
                      <a:tailEnd type="none" w="med" len="med"/>
                    </a:lnR>
                    <a:lnT w="28575" cap="flat" cmpd="sng" algn="ctr">
                      <a:solidFill>
                        <a:schemeClr val="tx2"/>
                      </a:solidFill>
                      <a:prstDash val="lgDash"/>
                      <a:round/>
                      <a:headEnd type="none" w="med" len="med"/>
                      <a:tailEnd type="none" w="med" len="med"/>
                    </a:lnT>
                    <a:lnB w="28575" cap="flat" cmpd="sng" algn="ctr">
                      <a:solidFill>
                        <a:schemeClr val="tx2"/>
                      </a:solidFill>
                      <a:prstDash val="lgDash"/>
                      <a:round/>
                      <a:headEnd type="none" w="med" len="med"/>
                      <a:tailEnd type="none" w="med" len="med"/>
                    </a:lnB>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t>Nights Away Notifications</a:t>
                      </a:r>
                    </a:p>
                  </a:txBody>
                  <a:tcPr anchor="ctr">
                    <a:lnL w="28575" cap="flat" cmpd="sng" algn="ctr">
                      <a:solidFill>
                        <a:schemeClr val="tx2"/>
                      </a:solidFill>
                      <a:prstDash val="lgDash"/>
                      <a:round/>
                      <a:headEnd type="none" w="med" len="med"/>
                      <a:tailEnd type="none" w="med" len="med"/>
                    </a:lnL>
                    <a:lnT w="28575" cap="flat" cmpd="sng" algn="ctr">
                      <a:solidFill>
                        <a:schemeClr val="tx2"/>
                      </a:solidFill>
                      <a:prstDash val="lgDash"/>
                      <a:round/>
                      <a:headEnd type="none" w="med" len="med"/>
                      <a:tailEnd type="none" w="med" len="med"/>
                    </a:lnT>
                    <a:lnB w="28575" cap="flat" cmpd="sng" algn="ctr">
                      <a:solidFill>
                        <a:schemeClr val="tx2"/>
                      </a:solidFill>
                      <a:prstDash val="lgDash"/>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680876361"/>
                  </a:ext>
                </a:extLst>
              </a:tr>
              <a:tr h="1252330">
                <a:tc>
                  <a:txBody>
                    <a:bodyPr/>
                    <a:lstStyle/>
                    <a:p>
                      <a:pPr marL="0" marR="0" lvl="0" indent="0" algn="ctr" eaLnBrk="1" fontAlgn="auto" latinLnBrk="0" hangingPunct="1">
                        <a:lnSpc>
                          <a:spcPct val="100000"/>
                        </a:lnSpc>
                        <a:spcBef>
                          <a:spcPts val="0"/>
                        </a:spcBef>
                        <a:spcAft>
                          <a:spcPts val="0"/>
                        </a:spcAft>
                        <a:buClrTx/>
                        <a:buSzTx/>
                        <a:buFontTx/>
                        <a:buNone/>
                      </a:pPr>
                      <a:r>
                        <a:rPr lang="en-GB"/>
                        <a:t>Managing my personal details </a:t>
                      </a:r>
                    </a:p>
                  </a:txBody>
                  <a:tcPr anchor="ctr">
                    <a:lnR w="28575" cap="flat" cmpd="sng" algn="ctr">
                      <a:solidFill>
                        <a:schemeClr val="tx2"/>
                      </a:solidFill>
                      <a:prstDash val="lgDash"/>
                      <a:round/>
                      <a:headEnd type="none" w="med" len="med"/>
                      <a:tailEnd type="none" w="med" len="med"/>
                    </a:lnR>
                    <a:lnT w="28575" cap="flat" cmpd="sng" algn="ctr">
                      <a:solidFill>
                        <a:schemeClr val="tx2"/>
                      </a:solidFill>
                      <a:prstDash val="lgDash"/>
                      <a:round/>
                      <a:headEnd type="none" w="med" len="med"/>
                      <a:tailEnd type="none" w="med" len="med"/>
                    </a:lnT>
                    <a:lnB w="28575" cap="flat" cmpd="sng" algn="ctr">
                      <a:solidFill>
                        <a:schemeClr val="tx2"/>
                      </a:solidFill>
                      <a:prstDash val="lgDash"/>
                      <a:round/>
                      <a:headEnd type="none" w="med" len="med"/>
                      <a:tailEnd type="none" w="med" len="med"/>
                    </a:lnB>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t>Dashboards &amp; Reporting</a:t>
                      </a:r>
                    </a:p>
                  </a:txBody>
                  <a:tcPr anchor="ctr">
                    <a:lnL w="28575" cap="flat" cmpd="sng" algn="ctr">
                      <a:solidFill>
                        <a:schemeClr val="tx2"/>
                      </a:solidFill>
                      <a:prstDash val="lgDash"/>
                      <a:round/>
                      <a:headEnd type="none" w="med" len="med"/>
                      <a:tailEnd type="none" w="med" len="med"/>
                    </a:lnL>
                    <a:lnR w="28575" cap="flat" cmpd="sng" algn="ctr">
                      <a:solidFill>
                        <a:schemeClr val="tx2"/>
                      </a:solidFill>
                      <a:prstDash val="lgDash"/>
                      <a:round/>
                      <a:headEnd type="none" w="med" len="med"/>
                      <a:tailEnd type="none" w="med" len="med"/>
                    </a:lnR>
                    <a:lnT w="28575" cap="flat" cmpd="sng" algn="ctr">
                      <a:solidFill>
                        <a:schemeClr val="tx2"/>
                      </a:solidFill>
                      <a:prstDash val="lgDash"/>
                      <a:round/>
                      <a:headEnd type="none" w="med" len="med"/>
                      <a:tailEnd type="none" w="med" len="med"/>
                    </a:lnT>
                    <a:lnB w="28575" cap="flat" cmpd="sng" algn="ctr">
                      <a:solidFill>
                        <a:schemeClr val="tx2"/>
                      </a:solidFill>
                      <a:prstDash val="lgDash"/>
                      <a:round/>
                      <a:headEnd type="none" w="med" len="med"/>
                      <a:tailEnd type="none" w="med" len="med"/>
                    </a:lnB>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t>Good Service Awards</a:t>
                      </a:r>
                    </a:p>
                  </a:txBody>
                  <a:tcPr anchor="ctr">
                    <a:lnL w="28575" cap="flat" cmpd="sng" algn="ctr">
                      <a:solidFill>
                        <a:schemeClr val="tx2"/>
                      </a:solidFill>
                      <a:prstDash val="lgDash"/>
                      <a:round/>
                      <a:headEnd type="none" w="med" len="med"/>
                      <a:tailEnd type="none" w="med" len="med"/>
                    </a:lnL>
                    <a:lnT w="28575" cap="flat" cmpd="sng" algn="ctr">
                      <a:solidFill>
                        <a:schemeClr val="tx2"/>
                      </a:solidFill>
                      <a:prstDash val="lgDash"/>
                      <a:round/>
                      <a:headEnd type="none" w="med" len="med"/>
                      <a:tailEnd type="none" w="med" len="med"/>
                    </a:lnT>
                    <a:lnB w="28575" cap="flat" cmpd="sng" algn="ctr">
                      <a:solidFill>
                        <a:schemeClr val="tx2"/>
                      </a:solidFill>
                      <a:prstDash val="lgDash"/>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044799388"/>
                  </a:ext>
                </a:extLst>
              </a:tr>
              <a:tr h="1172817">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t>Learning</a:t>
                      </a:r>
                    </a:p>
                  </a:txBody>
                  <a:tcPr anchor="ctr">
                    <a:lnR w="28575" cap="flat" cmpd="sng" algn="ctr">
                      <a:solidFill>
                        <a:schemeClr val="tx2"/>
                      </a:solidFill>
                      <a:prstDash val="lgDash"/>
                      <a:round/>
                      <a:headEnd type="none" w="med" len="med"/>
                      <a:tailEnd type="none" w="med" len="med"/>
                    </a:lnR>
                    <a:lnT w="28575" cap="flat" cmpd="sng" algn="ctr">
                      <a:solidFill>
                        <a:schemeClr val="tx2"/>
                      </a:solidFill>
                      <a:prstDash val="lgDash"/>
                      <a:round/>
                      <a:headEnd type="none" w="med" len="med"/>
                      <a:tailEnd type="none" w="med" len="med"/>
                    </a:lnT>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t>Appointment Reviews</a:t>
                      </a:r>
                    </a:p>
                  </a:txBody>
                  <a:tcPr anchor="ctr">
                    <a:lnL w="28575" cap="flat" cmpd="sng" algn="ctr">
                      <a:solidFill>
                        <a:schemeClr val="tx2"/>
                      </a:solidFill>
                      <a:prstDash val="lgDash"/>
                      <a:round/>
                      <a:headEnd type="none" w="med" len="med"/>
                      <a:tailEnd type="none" w="med" len="med"/>
                    </a:lnL>
                    <a:lnR w="28575" cap="flat" cmpd="sng" algn="ctr">
                      <a:solidFill>
                        <a:schemeClr val="tx2"/>
                      </a:solidFill>
                      <a:prstDash val="lgDash"/>
                      <a:round/>
                      <a:headEnd type="none" w="med" len="med"/>
                      <a:tailEnd type="none" w="med" len="med"/>
                    </a:lnR>
                    <a:lnT w="28575" cap="flat" cmpd="sng" algn="ctr">
                      <a:solidFill>
                        <a:schemeClr val="tx2"/>
                      </a:solidFill>
                      <a:prstDash val="lgDash"/>
                      <a:round/>
                      <a:headEnd type="none" w="med" len="med"/>
                      <a:tailEnd type="none" w="med" len="med"/>
                    </a:lnT>
                    <a:noFill/>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t>Grant applications and tracking</a:t>
                      </a:r>
                    </a:p>
                  </a:txBody>
                  <a:tcPr anchor="ctr">
                    <a:lnL w="28575" cap="flat" cmpd="sng" algn="ctr">
                      <a:solidFill>
                        <a:schemeClr val="tx2"/>
                      </a:solidFill>
                      <a:prstDash val="lgDash"/>
                      <a:round/>
                      <a:headEnd type="none" w="med" len="med"/>
                      <a:tailEnd type="none" w="med" len="med"/>
                    </a:lnL>
                    <a:lnT w="28575" cap="flat" cmpd="sng" algn="ctr">
                      <a:solidFill>
                        <a:schemeClr val="tx2"/>
                      </a:solidFill>
                      <a:prstDash val="lgDash"/>
                      <a:round/>
                      <a:headEnd type="none" w="med" len="med"/>
                      <a:tailEnd type="none" w="med" len="med"/>
                    </a:lnT>
                    <a:noFill/>
                  </a:tcPr>
                </a:tc>
                <a:extLst>
                  <a:ext uri="{0D108BD9-81ED-4DB2-BD59-A6C34878D82A}">
                    <a16:rowId xmlns:a16="http://schemas.microsoft.com/office/drawing/2014/main" val="3598037251"/>
                  </a:ext>
                </a:extLst>
              </a:tr>
            </a:tbl>
          </a:graphicData>
        </a:graphic>
      </p:graphicFrame>
      <p:sp>
        <p:nvSpPr>
          <p:cNvPr id="4" name="object 5">
            <a:extLst>
              <a:ext uri="{FF2B5EF4-FFF2-40B4-BE49-F238E27FC236}">
                <a16:creationId xmlns:a16="http://schemas.microsoft.com/office/drawing/2014/main" id="{87A82FBF-B6EB-0A78-A831-560D2238C6B9}"/>
              </a:ext>
            </a:extLst>
          </p:cNvPr>
          <p:cNvSpPr txBox="1"/>
          <p:nvPr/>
        </p:nvSpPr>
        <p:spPr>
          <a:xfrm>
            <a:off x="528209" y="947275"/>
            <a:ext cx="5656032"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lang="en-GB" sz="3000" kern="0">
                <a:solidFill>
                  <a:srgbClr val="7413DC"/>
                </a:solidFill>
                <a:latin typeface="Nunito Sans Black"/>
                <a:cs typeface="Calibri"/>
              </a:rPr>
              <a:t>Process Changes</a:t>
            </a:r>
            <a:endParaRPr kumimoji="0" lang="en-US" sz="1800" b="0" i="0" u="none" strike="noStrike" kern="1200" cap="none" spc="0" normalizeH="0" baseline="0" noProof="0">
              <a:ln>
                <a:noFill/>
              </a:ln>
              <a:solidFill>
                <a:srgbClr val="000000"/>
              </a:solidFill>
              <a:effectLst/>
              <a:uLnTx/>
              <a:uFillTx/>
              <a:latin typeface="Nunito Sans"/>
              <a:ea typeface="+mn-ea"/>
              <a:cs typeface="+mn-cs"/>
            </a:endParaRPr>
          </a:p>
        </p:txBody>
      </p:sp>
    </p:spTree>
    <p:extLst>
      <p:ext uri="{BB962C8B-B14F-4D97-AF65-F5344CB8AC3E}">
        <p14:creationId xmlns:p14="http://schemas.microsoft.com/office/powerpoint/2010/main" val="27562544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290116" y="676728"/>
            <a:ext cx="6143814"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Activity &amp; Nights Away Permits</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graphicFrame>
        <p:nvGraphicFramePr>
          <p:cNvPr id="2" name="Diagram 1">
            <a:extLst>
              <a:ext uri="{FF2B5EF4-FFF2-40B4-BE49-F238E27FC236}">
                <a16:creationId xmlns:a16="http://schemas.microsoft.com/office/drawing/2014/main" id="{7E8B1399-C6A6-DCF4-9880-58E21FA6B8CA}"/>
              </a:ext>
            </a:extLst>
          </p:cNvPr>
          <p:cNvGraphicFramePr/>
          <p:nvPr>
            <p:extLst>
              <p:ext uri="{D42A27DB-BD31-4B8C-83A1-F6EECF244321}">
                <p14:modId xmlns:p14="http://schemas.microsoft.com/office/powerpoint/2010/main" val="3252969421"/>
              </p:ext>
            </p:extLst>
          </p:nvPr>
        </p:nvGraphicFramePr>
        <p:xfrm>
          <a:off x="409011" y="1138393"/>
          <a:ext cx="11373977"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Rectangle: Rounded Corners 12">
            <a:extLst>
              <a:ext uri="{FF2B5EF4-FFF2-40B4-BE49-F238E27FC236}">
                <a16:creationId xmlns:a16="http://schemas.microsoft.com/office/drawing/2014/main" id="{4110CF28-94E3-7BD5-FBD7-D0D47956A33C}"/>
              </a:ext>
            </a:extLst>
          </p:cNvPr>
          <p:cNvSpPr/>
          <p:nvPr/>
        </p:nvSpPr>
        <p:spPr>
          <a:xfrm>
            <a:off x="3940144" y="5107846"/>
            <a:ext cx="4311709" cy="1073426"/>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525" marR="0" lvl="0" algn="ctr" defTabSz="685800" rtl="0" eaLnBrk="1" fontAlgn="auto" latinLnBrk="0" hangingPunct="1">
              <a:lnSpc>
                <a:spcPct val="100000"/>
              </a:lnSpc>
              <a:spcBef>
                <a:spcPts val="600"/>
              </a:spcBef>
              <a:spcAft>
                <a:spcPts val="600"/>
              </a:spcAft>
              <a:buClr>
                <a:srgbClr val="7414DC"/>
              </a:buClr>
              <a:buSzPct val="125000"/>
              <a:tabLst/>
              <a:defRPr/>
            </a:pPr>
            <a:r>
              <a:rPr lang="en-GB" sz="1800">
                <a:solidFill>
                  <a:srgbClr val="7414DC">
                    <a:hueOff val="0"/>
                    <a:satOff val="0"/>
                    <a:lumOff val="0"/>
                    <a:alphaOff val="0"/>
                  </a:srgbClr>
                </a:solidFill>
                <a:latin typeface="Nunito Sans"/>
              </a:rPr>
              <a:t>Progress of the permit application can be reviewed on the system at any time by Lead Volunteer or by applicant</a:t>
            </a:r>
          </a:p>
        </p:txBody>
      </p:sp>
    </p:spTree>
    <p:extLst>
      <p:ext uri="{BB962C8B-B14F-4D97-AF65-F5344CB8AC3E}">
        <p14:creationId xmlns:p14="http://schemas.microsoft.com/office/powerpoint/2010/main" val="35981756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Scouts Master Colours">
      <a:dk1>
        <a:srgbClr val="000000"/>
      </a:dk1>
      <a:lt1>
        <a:srgbClr val="FFFFFF"/>
      </a:lt1>
      <a:dk2>
        <a:srgbClr val="7414DC"/>
      </a:dk2>
      <a:lt2>
        <a:srgbClr val="00A793"/>
      </a:lt2>
      <a:accent1>
        <a:srgbClr val="E22E12"/>
      </a:accent1>
      <a:accent2>
        <a:srgbClr val="23A950"/>
      </a:accent2>
      <a:accent3>
        <a:srgbClr val="006EE0"/>
      </a:accent3>
      <a:accent4>
        <a:srgbClr val="FFB3E5"/>
      </a:accent4>
      <a:accent5>
        <a:srgbClr val="003A82"/>
      </a:accent5>
      <a:accent6>
        <a:srgbClr val="FFE627"/>
      </a:accent6>
      <a:hlink>
        <a:srgbClr val="00B8B8"/>
      </a:hlink>
      <a:folHlink>
        <a:srgbClr val="7414DC"/>
      </a:folHlink>
    </a:clrScheme>
    <a:fontScheme name="Scouts">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cout PowerPoint V5 Email PH" id="{257C25A9-7AC9-40ED-8C67-89EB2ADF5179}" vid="{CAF7EC17-53D2-43D7-96D5-1CFD4E1346D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Scouts Master Colours">
      <a:dk1>
        <a:srgbClr val="000000"/>
      </a:dk1>
      <a:lt1>
        <a:srgbClr val="FFFFFF"/>
      </a:lt1>
      <a:dk2>
        <a:srgbClr val="7414DC"/>
      </a:dk2>
      <a:lt2>
        <a:srgbClr val="00A793"/>
      </a:lt2>
      <a:accent1>
        <a:srgbClr val="E22E12"/>
      </a:accent1>
      <a:accent2>
        <a:srgbClr val="23A950"/>
      </a:accent2>
      <a:accent3>
        <a:srgbClr val="006EE0"/>
      </a:accent3>
      <a:accent4>
        <a:srgbClr val="FFB3E5"/>
      </a:accent4>
      <a:accent5>
        <a:srgbClr val="003A82"/>
      </a:accent5>
      <a:accent6>
        <a:srgbClr val="FFE627"/>
      </a:accent6>
      <a:hlink>
        <a:srgbClr val="00B8B8"/>
      </a:hlink>
      <a:folHlink>
        <a:srgbClr val="7414DC"/>
      </a:folHlink>
    </a:clrScheme>
    <a:fontScheme name="Scouts">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cout PowerPoint V5 Email PH" id="{257C25A9-7AC9-40ED-8C67-89EB2ADF5179}" vid="{CAF7EC17-53D2-43D7-96D5-1CFD4E1346DB}"/>
    </a:ext>
  </a:extLst>
</a:theme>
</file>

<file path=ppt/theme/theme4.xml><?xml version="1.0" encoding="utf-8"?>
<a:theme xmlns:a="http://schemas.openxmlformats.org/drawingml/2006/main" name="3_Office Theme">
  <a:themeElements>
    <a:clrScheme name="Scouts Master Colours">
      <a:dk1>
        <a:srgbClr val="000000"/>
      </a:dk1>
      <a:lt1>
        <a:srgbClr val="FFFFFF"/>
      </a:lt1>
      <a:dk2>
        <a:srgbClr val="7414DC"/>
      </a:dk2>
      <a:lt2>
        <a:srgbClr val="00A793"/>
      </a:lt2>
      <a:accent1>
        <a:srgbClr val="E22E12"/>
      </a:accent1>
      <a:accent2>
        <a:srgbClr val="23A950"/>
      </a:accent2>
      <a:accent3>
        <a:srgbClr val="006EE0"/>
      </a:accent3>
      <a:accent4>
        <a:srgbClr val="FFB3E5"/>
      </a:accent4>
      <a:accent5>
        <a:srgbClr val="003A82"/>
      </a:accent5>
      <a:accent6>
        <a:srgbClr val="FFE627"/>
      </a:accent6>
      <a:hlink>
        <a:srgbClr val="00B8B8"/>
      </a:hlink>
      <a:folHlink>
        <a:srgbClr val="7414DC"/>
      </a:folHlink>
    </a:clrScheme>
    <a:fontScheme name="Scouts">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cout PowerPoint V5 Email PH" id="{257C25A9-7AC9-40ED-8C67-89EB2ADF5179}" vid="{CAF7EC17-53D2-43D7-96D5-1CFD4E1346DB}"/>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f4847a80-7f8c-4933-831b-56854e27fa84">
      <UserInfo>
        <DisplayName>Jack Caine</DisplayName>
        <AccountId>18</AccountId>
        <AccountType/>
      </UserInfo>
      <UserInfo>
        <DisplayName>SharingLinks.d6a74b5a-3c96-445a-a656-a9dbc586c100.OrganizationEdit.10f8d3b4-2420-4024-a109-0a08da5f7c84</DisplayName>
        <AccountId>56</AccountId>
        <AccountType/>
      </UserInfo>
      <UserInfo>
        <DisplayName>Jaimee Taylor</DisplayName>
        <AccountId>146</AccountId>
        <AccountType/>
      </UserInfo>
      <UserInfo>
        <DisplayName>SharingLinks.a343a228-a234-46c6-ac1d-cab5d109751f.OrganizationEdit.9c343d70-b905-4fd9-82d5-e0623f9d6a8a</DisplayName>
        <AccountId>192</AccountId>
        <AccountType/>
      </UserInfo>
      <UserInfo>
        <DisplayName>Ruth Adeniyi</DisplayName>
        <AccountId>72</AccountId>
        <AccountType/>
      </UserInfo>
      <UserInfo>
        <DisplayName>Anders Wulff</DisplayName>
        <AccountId>74</AccountId>
        <AccountType/>
      </UserInfo>
      <UserInfo>
        <DisplayName>Matthew Cobble</DisplayName>
        <AccountId>19</AccountId>
        <AccountType/>
      </UserInfo>
      <UserInfo>
        <DisplayName>Robert Groves</DisplayName>
        <AccountId>10</AccountId>
        <AccountType/>
      </UserInfo>
      <UserInfo>
        <DisplayName>Bebbe Hron</DisplayName>
        <AccountId>125</AccountId>
        <AccountType/>
      </UserInfo>
      <UserInfo>
        <DisplayName>Craig Turpie</DisplayName>
        <AccountId>178</AccountId>
        <AccountType/>
      </UserInfo>
      <UserInfo>
        <DisplayName>Lara Burns</DisplayName>
        <AccountId>20</AccountId>
        <AccountType/>
      </UserInfo>
      <UserInfo>
        <DisplayName>Andrew Sutherland</DisplayName>
        <AccountId>32</AccountId>
        <AccountType/>
      </UserInfo>
      <UserInfo>
        <DisplayName>Sam Morris</DisplayName>
        <AccountId>17</AccountId>
        <AccountType/>
      </UserInfo>
      <UserInfo>
        <DisplayName>Susan Wallace</DisplayName>
        <AccountId>26</AccountId>
        <AccountType/>
      </UserInfo>
      <UserInfo>
        <DisplayName>Kirsty Waugh</DisplayName>
        <AccountId>25</AccountId>
        <AccountType/>
      </UserInfo>
      <UserInfo>
        <DisplayName>James Booker</DisplayName>
        <AccountId>15</AccountId>
        <AccountType/>
      </UserInfo>
      <UserInfo>
        <DisplayName>Lauren Golding</DisplayName>
        <AccountId>159</AccountId>
        <AccountType/>
      </UserInfo>
      <UserInfo>
        <DisplayName>Hamish Stout</DisplayName>
        <AccountId>30</AccountId>
        <AccountType/>
      </UserInfo>
      <UserInfo>
        <DisplayName>Pete Jeffreys</DisplayName>
        <AccountId>101</AccountId>
        <AccountType/>
      </UserInfo>
      <UserInfo>
        <DisplayName>Elizabeth Stormfield</DisplayName>
        <AccountId>229</AccountId>
        <AccountType/>
      </UserInfo>
      <UserInfo>
        <DisplayName>Heather Smith</DisplayName>
        <AccountId>116</AccountId>
        <AccountType/>
      </UserInfo>
      <UserInfo>
        <DisplayName>Gordon Weston</DisplayName>
        <AccountId>241</AccountId>
        <AccountType/>
      </UserInfo>
      <UserInfo>
        <DisplayName>Hermione Clulow</DisplayName>
        <AccountId>52</AccountId>
        <AccountType/>
      </UserInfo>
      <UserInfo>
        <DisplayName>Rebecca Young</DisplayName>
        <AccountId>16</AccountId>
        <AccountType/>
      </UserInfo>
      <UserInfo>
        <DisplayName>Gemma Norman</DisplayName>
        <AccountId>704</AccountId>
        <AccountType/>
      </UserInfo>
      <UserInfo>
        <DisplayName>Adam Ray</DisplayName>
        <AccountId>379</AccountId>
        <AccountType/>
      </UserInfo>
    </SharedWithUsers>
    <TaxCatchAll xmlns="f4847a80-7f8c-4933-831b-56854e27fa84" xsi:nil="true"/>
    <lcf76f155ced4ddcb4097134ff3c332f xmlns="ec4b7ab6-7d60-435b-a181-f014eb7edb36">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CB3A5D27B9C2A44BF036FAD366BF02E" ma:contentTypeVersion="14" ma:contentTypeDescription="Create a new document." ma:contentTypeScope="" ma:versionID="177f52ba95b4449ef0e9968a8077f0f6">
  <xsd:schema xmlns:xsd="http://www.w3.org/2001/XMLSchema" xmlns:xs="http://www.w3.org/2001/XMLSchema" xmlns:p="http://schemas.microsoft.com/office/2006/metadata/properties" xmlns:ns2="ec4b7ab6-7d60-435b-a181-f014eb7edb36" xmlns:ns3="f4847a80-7f8c-4933-831b-56854e27fa84" targetNamespace="http://schemas.microsoft.com/office/2006/metadata/properties" ma:root="true" ma:fieldsID="bc903d8bf9c00d2cdcb2e53dcb157166" ns2:_="" ns3:_="">
    <xsd:import namespace="ec4b7ab6-7d60-435b-a181-f014eb7edb36"/>
    <xsd:import namespace="f4847a80-7f8c-4933-831b-56854e27fa84"/>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Location"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4b7ab6-7d60-435b-a181-f014eb7edb3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6a56231d-6d57-4d01-be4e-eaa0c39de8aa"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4847a80-7f8c-4933-831b-56854e27fa84"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b1716686-e181-4082-8c8c-eb3028629746}" ma:internalName="TaxCatchAll" ma:showField="CatchAllData" ma:web="f4847a80-7f8c-4933-831b-56854e27fa84">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FC12B90-76D4-46D2-9FB0-4A1733A9F42D}">
  <ds:schemaRefs>
    <ds:schemaRef ds:uri="http://schemas.microsoft.com/sharepoint/v3/contenttype/forms"/>
  </ds:schemaRefs>
</ds:datastoreItem>
</file>

<file path=customXml/itemProps2.xml><?xml version="1.0" encoding="utf-8"?>
<ds:datastoreItem xmlns:ds="http://schemas.openxmlformats.org/officeDocument/2006/customXml" ds:itemID="{8E3F7C96-A926-416F-8489-B53183D70031}">
  <ds:schemaRefs>
    <ds:schemaRef ds:uri="ec4b7ab6-7d60-435b-a181-f014eb7edb36"/>
    <ds:schemaRef ds:uri="f4847a80-7f8c-4933-831b-56854e27fa8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E3F8706-4772-4721-A89E-FC95F0D255FD}">
  <ds:schemaRefs>
    <ds:schemaRef ds:uri="ec4b7ab6-7d60-435b-a181-f014eb7edb36"/>
    <ds:schemaRef ds:uri="f4847a80-7f8c-4933-831b-56854e27fa8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scouts-powerpoint-template-small-file</Template>
  <TotalTime>0</TotalTime>
  <Words>1554</Words>
  <Application>Microsoft Office PowerPoint</Application>
  <PresentationFormat>Widescreen</PresentationFormat>
  <Paragraphs>233</Paragraphs>
  <Slides>36</Slides>
  <Notes>30</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36</vt:i4>
      </vt:variant>
    </vt:vector>
  </HeadingPairs>
  <TitlesOfParts>
    <vt:vector size="48" baseType="lpstr">
      <vt:lpstr>Nunito Sans ExtraBold</vt:lpstr>
      <vt:lpstr>Nunito Sans</vt:lpstr>
      <vt:lpstr>Nunito Sans Black</vt:lpstr>
      <vt:lpstr>Segoe UI</vt:lpstr>
      <vt:lpstr>Calibri</vt:lpstr>
      <vt:lpstr>Arial</vt:lpstr>
      <vt:lpstr>Times New Roman</vt:lpstr>
      <vt:lpstr>Office Theme</vt:lpstr>
      <vt:lpstr>Office Theme</vt:lpstr>
      <vt:lpstr>2_Office Theme</vt:lpstr>
      <vt:lpstr>3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he Scout Associ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lissa Gannaway</dc:creator>
  <cp:lastModifiedBy>Robert Groves</cp:lastModifiedBy>
  <cp:revision>1</cp:revision>
  <dcterms:created xsi:type="dcterms:W3CDTF">2019-10-08T08:48:13Z</dcterms:created>
  <dcterms:modified xsi:type="dcterms:W3CDTF">2023-11-01T09:2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8-02-16T00:00:00Z</vt:filetime>
  </property>
  <property fmtid="{D5CDD505-2E9C-101B-9397-08002B2CF9AE}" pid="3" name="Creator">
    <vt:lpwstr>Adobe InDesign CS5 (7.0)</vt:lpwstr>
  </property>
  <property fmtid="{D5CDD505-2E9C-101B-9397-08002B2CF9AE}" pid="4" name="LastSaved">
    <vt:filetime>2018-02-18T00:00:00Z</vt:filetime>
  </property>
  <property fmtid="{D5CDD505-2E9C-101B-9397-08002B2CF9AE}" pid="5" name="ContentTypeId">
    <vt:lpwstr>0x0101002CB3A5D27B9C2A44BF036FAD366BF02E</vt:lpwstr>
  </property>
  <property fmtid="{D5CDD505-2E9C-101B-9397-08002B2CF9AE}" pid="6" name="xd_ProgID">
    <vt:lpwstr/>
  </property>
  <property fmtid="{D5CDD505-2E9C-101B-9397-08002B2CF9AE}" pid="7" name="MediaServiceImageTags">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y fmtid="{D5CDD505-2E9C-101B-9397-08002B2CF9AE}" pid="12" name="xd_Signature">
    <vt:bool>false</vt:bool>
  </property>
</Properties>
</file>